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27" r:id="rId1"/>
    <p:sldMasterId id="2147484035" r:id="rId2"/>
  </p:sldMasterIdLst>
  <p:notesMasterIdLst>
    <p:notesMasterId r:id="rId25"/>
  </p:notesMasterIdLst>
  <p:sldIdLst>
    <p:sldId id="499" r:id="rId3"/>
    <p:sldId id="500" r:id="rId4"/>
    <p:sldId id="503" r:id="rId5"/>
    <p:sldId id="505" r:id="rId6"/>
    <p:sldId id="504" r:id="rId7"/>
    <p:sldId id="506" r:id="rId8"/>
    <p:sldId id="507" r:id="rId9"/>
    <p:sldId id="501" r:id="rId10"/>
    <p:sldId id="508" r:id="rId11"/>
    <p:sldId id="509" r:id="rId12"/>
    <p:sldId id="510" r:id="rId13"/>
    <p:sldId id="511" r:id="rId14"/>
    <p:sldId id="512" r:id="rId15"/>
    <p:sldId id="513" r:id="rId16"/>
    <p:sldId id="514" r:id="rId17"/>
    <p:sldId id="515" r:id="rId18"/>
    <p:sldId id="502" r:id="rId19"/>
    <p:sldId id="516" r:id="rId20"/>
    <p:sldId id="517" r:id="rId21"/>
    <p:sldId id="518" r:id="rId22"/>
    <p:sldId id="519" r:id="rId23"/>
    <p:sldId id="520" r:id="rId24"/>
  </p:sldIdLst>
  <p:sldSz cx="9144000" cy="6858000" type="screen4x3"/>
  <p:notesSz cx="7099300" cy="10234613"/>
  <p:custDataLst>
    <p:tags r:id="rId26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1321">
          <p15:clr>
            <a:srgbClr val="A4A3A4"/>
          </p15:clr>
        </p15:guide>
        <p15:guide id="3" orient="horz" pos="4133">
          <p15:clr>
            <a:srgbClr val="A4A3A4"/>
          </p15:clr>
        </p15:guide>
        <p15:guide id="4" orient="horz" pos="4224">
          <p15:clr>
            <a:srgbClr val="A4A3A4"/>
          </p15:clr>
        </p15:guide>
        <p15:guide id="5" pos="295">
          <p15:clr>
            <a:srgbClr val="A4A3A4"/>
          </p15:clr>
        </p15:guide>
        <p15:guide id="6" pos="4037">
          <p15:clr>
            <a:srgbClr val="A4A3A4"/>
          </p15:clr>
        </p15:guide>
        <p15:guide id="7" pos="5534">
          <p15:clr>
            <a:srgbClr val="A4A3A4"/>
          </p15:clr>
        </p15:guide>
        <p15:guide id="8" pos="1134">
          <p15:clr>
            <a:srgbClr val="A4A3A4"/>
          </p15:clr>
        </p15:guide>
        <p15:guide id="9" pos="1202">
          <p15:clr>
            <a:srgbClr val="A4A3A4"/>
          </p15:clr>
        </p15:guide>
        <p15:guide id="10" pos="1678">
          <p15:clr>
            <a:srgbClr val="A4A3A4"/>
          </p15:clr>
        </p15:guide>
        <p15:guide id="11" pos="172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C40EA"/>
    <a:srgbClr val="E4D994"/>
    <a:srgbClr val="E8DFA6"/>
    <a:srgbClr val="99CCFF"/>
    <a:srgbClr val="C4C4C4"/>
    <a:srgbClr val="9B9B9B"/>
    <a:srgbClr val="F1F2EA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12" autoAdjust="0"/>
    <p:restoredTop sz="98701" autoAdjust="0"/>
  </p:normalViewPr>
  <p:slideViewPr>
    <p:cSldViewPr>
      <p:cViewPr varScale="1">
        <p:scale>
          <a:sx n="86" d="100"/>
          <a:sy n="86" d="100"/>
        </p:scale>
        <p:origin x="1116" y="84"/>
      </p:cViewPr>
      <p:guideLst>
        <p:guide orient="horz" pos="799"/>
        <p:guide orient="horz" pos="1321"/>
        <p:guide orient="horz" pos="4133"/>
        <p:guide orient="horz" pos="4224"/>
        <p:guide pos="295"/>
        <p:guide pos="4037"/>
        <p:guide pos="5534"/>
        <p:guide pos="1134"/>
        <p:guide pos="1202"/>
        <p:guide pos="1678"/>
        <p:guide pos="17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image" Target="../media/image15.pn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46E2D9-8916-4FA2-9071-BA49D14DC61D}" type="doc">
      <dgm:prSet loTypeId="urn:microsoft.com/office/officeart/2005/8/layout/cycle3" loCatId="cycle" qsTypeId="urn:microsoft.com/office/officeart/2005/8/quickstyle/3d3" qsCatId="3D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6FDEEF6F-D811-401C-BFCE-B07F2F3B6614}">
      <dgm:prSet phldrT="[文本]"/>
      <dgm:spPr/>
      <dgm:t>
        <a:bodyPr/>
        <a:lstStyle/>
        <a:p>
          <a:r>
            <a:rPr lang="zh-CN" dirty="0">
              <a:latin typeface="微软雅黑" pitchFamily="34" charset="-122"/>
              <a:ea typeface="微软雅黑" pitchFamily="34" charset="-122"/>
            </a:rPr>
            <a:t>适当选取</a:t>
          </a:r>
          <a:r>
            <a:rPr lang="en-US" dirty="0">
              <a:latin typeface="微软雅黑" pitchFamily="34" charset="-122"/>
              <a:ea typeface="微软雅黑" pitchFamily="34" charset="-122"/>
            </a:rPr>
            <a:t> K</a:t>
          </a:r>
          <a:r>
            <a:rPr lang="zh-CN" dirty="0">
              <a:latin typeface="微软雅黑" pitchFamily="34" charset="-122"/>
              <a:ea typeface="微软雅黑" pitchFamily="34" charset="-122"/>
            </a:rPr>
            <a:t>个类的初始中心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E82F3D01-4D82-4470-89D0-97BC0C9A2E43}" type="parTrans" cxnId="{25B40F5A-6566-43C2-A01B-F0F2DCCFE24A}">
      <dgm:prSet/>
      <dgm:spPr/>
      <dgm:t>
        <a:bodyPr/>
        <a:lstStyle/>
        <a:p>
          <a:endParaRPr lang="zh-CN" altLang="en-US"/>
        </a:p>
      </dgm:t>
    </dgm:pt>
    <dgm:pt modelId="{C1F21265-2E2C-49D5-9DC9-EF86C282512A}" type="sibTrans" cxnId="{25B40F5A-6566-43C2-A01B-F0F2DCCFE24A}">
      <dgm:prSet/>
      <dgm:spPr/>
      <dgm:t>
        <a:bodyPr/>
        <a:lstStyle/>
        <a:p>
          <a:endParaRPr lang="zh-CN" altLang="en-US"/>
        </a:p>
      </dgm:t>
    </dgm:pt>
    <dgm:pt modelId="{553298F2-A107-4C3B-9DC4-07B1340CF55A}">
      <dgm:prSet phldrT="[文本]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zh-CN" altLang="en-US">
              <a:noFill/>
            </a:rPr>
            <a:t> </a:t>
          </a:r>
        </a:p>
      </dgm:t>
    </dgm:pt>
    <dgm:pt modelId="{6DDB3C80-7D22-4709-9B15-7A6CB02AC534}" type="parTrans" cxnId="{E9D4FAA5-F6CA-41E5-95D4-C501EAE8C116}">
      <dgm:prSet/>
      <dgm:spPr/>
      <dgm:t>
        <a:bodyPr/>
        <a:lstStyle/>
        <a:p>
          <a:endParaRPr lang="zh-CN" altLang="en-US"/>
        </a:p>
      </dgm:t>
    </dgm:pt>
    <dgm:pt modelId="{D32C2514-214A-4626-BE19-89A1535E5E10}" type="sibTrans" cxnId="{E9D4FAA5-F6CA-41E5-95D4-C501EAE8C116}">
      <dgm:prSet/>
      <dgm:spPr/>
      <dgm:t>
        <a:bodyPr/>
        <a:lstStyle/>
        <a:p>
          <a:endParaRPr lang="zh-CN" altLang="en-US"/>
        </a:p>
      </dgm:t>
    </dgm:pt>
    <dgm:pt modelId="{F56DF05A-DD27-4225-871E-CD0733BD1BE1}">
      <dgm:prSet phldrT="[文本]" custT="1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r>
            <a:rPr lang="zh-CN" altLang="en-US">
              <a:noFill/>
            </a:rPr>
            <a:t> </a:t>
          </a:r>
        </a:p>
      </dgm:t>
    </dgm:pt>
    <dgm:pt modelId="{74842CE7-E91C-4AF3-8A2B-214B635D5D8E}" type="parTrans" cxnId="{925A9085-F55B-4582-AB7D-0A502043DC8E}">
      <dgm:prSet/>
      <dgm:spPr/>
      <dgm:t>
        <a:bodyPr/>
        <a:lstStyle/>
        <a:p>
          <a:endParaRPr lang="zh-CN" altLang="en-US"/>
        </a:p>
      </dgm:t>
    </dgm:pt>
    <dgm:pt modelId="{116E7ADA-7874-4C7E-B015-63FC28D27B90}" type="sibTrans" cxnId="{925A9085-F55B-4582-AB7D-0A502043DC8E}">
      <dgm:prSet/>
      <dgm:spPr/>
      <dgm:t>
        <a:bodyPr/>
        <a:lstStyle/>
        <a:p>
          <a:endParaRPr lang="zh-CN" altLang="en-US"/>
        </a:p>
      </dgm:t>
    </dgm:pt>
    <dgm:pt modelId="{025E21DD-BACE-4FDC-9612-9AD229904356}">
      <dgm:prSet phldrT="[文本]" custT="1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r>
            <a:rPr lang="zh-CN" altLang="en-US">
              <a:noFill/>
            </a:rPr>
            <a:t> </a:t>
          </a:r>
        </a:p>
      </dgm:t>
    </dgm:pt>
    <dgm:pt modelId="{02EC0D0A-8A13-4371-86A7-08366C1FAF00}" type="parTrans" cxnId="{74255A2E-DBD4-4167-A5C1-93575900146D}">
      <dgm:prSet/>
      <dgm:spPr/>
      <dgm:t>
        <a:bodyPr/>
        <a:lstStyle/>
        <a:p>
          <a:endParaRPr lang="zh-CN" altLang="en-US"/>
        </a:p>
      </dgm:t>
    </dgm:pt>
    <dgm:pt modelId="{9CC4AE86-A26B-4F36-808D-9E7B72058670}" type="sibTrans" cxnId="{74255A2E-DBD4-4167-A5C1-93575900146D}">
      <dgm:prSet/>
      <dgm:spPr/>
      <dgm:t>
        <a:bodyPr/>
        <a:lstStyle/>
        <a:p>
          <a:endParaRPr lang="zh-CN" altLang="en-US"/>
        </a:p>
      </dgm:t>
    </dgm:pt>
    <dgm:pt modelId="{0627D746-A053-4061-AC13-54611BDDFCA4}" type="pres">
      <dgm:prSet presAssocID="{7E46E2D9-8916-4FA2-9071-BA49D14DC61D}" presName="Name0" presStyleCnt="0">
        <dgm:presLayoutVars>
          <dgm:dir/>
          <dgm:resizeHandles val="exact"/>
        </dgm:presLayoutVars>
      </dgm:prSet>
      <dgm:spPr/>
    </dgm:pt>
    <dgm:pt modelId="{46682142-B287-4759-AE1E-0644881DFB0C}" type="pres">
      <dgm:prSet presAssocID="{7E46E2D9-8916-4FA2-9071-BA49D14DC61D}" presName="cycle" presStyleCnt="0"/>
      <dgm:spPr/>
    </dgm:pt>
    <dgm:pt modelId="{330F4AF1-2543-452D-9E50-F5E2E7A14F48}" type="pres">
      <dgm:prSet presAssocID="{6FDEEF6F-D811-401C-BFCE-B07F2F3B6614}" presName="nodeFirstNode" presStyleLbl="node1" presStyleIdx="0" presStyleCnt="4">
        <dgm:presLayoutVars>
          <dgm:bulletEnabled val="1"/>
        </dgm:presLayoutVars>
      </dgm:prSet>
      <dgm:spPr/>
    </dgm:pt>
    <dgm:pt modelId="{F383BE58-C32B-4EA8-A50C-929D59C497F5}" type="pres">
      <dgm:prSet presAssocID="{C1F21265-2E2C-49D5-9DC9-EF86C282512A}" presName="sibTransFirstNode" presStyleLbl="bgShp" presStyleIdx="0" presStyleCnt="1"/>
      <dgm:spPr/>
    </dgm:pt>
    <dgm:pt modelId="{841054F1-A1FF-4D70-B890-0BD686AC5241}" type="pres">
      <dgm:prSet presAssocID="{553298F2-A107-4C3B-9DC4-07B1340CF55A}" presName="nodeFollowingNodes" presStyleLbl="node1" presStyleIdx="1" presStyleCnt="4">
        <dgm:presLayoutVars>
          <dgm:bulletEnabled val="1"/>
        </dgm:presLayoutVars>
      </dgm:prSet>
      <dgm:spPr/>
    </dgm:pt>
    <dgm:pt modelId="{97B7FC08-91D9-4017-8908-F736F7B22E69}" type="pres">
      <dgm:prSet presAssocID="{F56DF05A-DD27-4225-871E-CD0733BD1BE1}" presName="nodeFollowingNodes" presStyleLbl="node1" presStyleIdx="2" presStyleCnt="4">
        <dgm:presLayoutVars>
          <dgm:bulletEnabled val="1"/>
        </dgm:presLayoutVars>
      </dgm:prSet>
      <dgm:spPr/>
    </dgm:pt>
    <dgm:pt modelId="{15871B4E-208D-4BC1-980F-831FC91BB05F}" type="pres">
      <dgm:prSet presAssocID="{025E21DD-BACE-4FDC-9612-9AD229904356}" presName="nodeFollowingNodes" presStyleLbl="node1" presStyleIdx="3" presStyleCnt="4" custScaleX="102902" custScaleY="108756" custRadScaleRad="99999" custRadScaleInc="-28">
        <dgm:presLayoutVars>
          <dgm:bulletEnabled val="1"/>
        </dgm:presLayoutVars>
      </dgm:prSet>
      <dgm:spPr/>
    </dgm:pt>
  </dgm:ptLst>
  <dgm:cxnLst>
    <dgm:cxn modelId="{4D063F0F-AF1A-4C85-B7B9-94C21561E7EB}" type="presOf" srcId="{C1F21265-2E2C-49D5-9DC9-EF86C282512A}" destId="{F383BE58-C32B-4EA8-A50C-929D59C497F5}" srcOrd="0" destOrd="0" presId="urn:microsoft.com/office/officeart/2005/8/layout/cycle3"/>
    <dgm:cxn modelId="{74255A2E-DBD4-4167-A5C1-93575900146D}" srcId="{7E46E2D9-8916-4FA2-9071-BA49D14DC61D}" destId="{025E21DD-BACE-4FDC-9612-9AD229904356}" srcOrd="3" destOrd="0" parTransId="{02EC0D0A-8A13-4371-86A7-08366C1FAF00}" sibTransId="{9CC4AE86-A26B-4F36-808D-9E7B72058670}"/>
    <dgm:cxn modelId="{AB1A1A40-A110-4ABA-80B3-092A352F4394}" type="presOf" srcId="{025E21DD-BACE-4FDC-9612-9AD229904356}" destId="{15871B4E-208D-4BC1-980F-831FC91BB05F}" srcOrd="0" destOrd="0" presId="urn:microsoft.com/office/officeart/2005/8/layout/cycle3"/>
    <dgm:cxn modelId="{617F1C66-BFD4-445D-9614-6DE66020B005}" type="presOf" srcId="{F56DF05A-DD27-4225-871E-CD0733BD1BE1}" destId="{97B7FC08-91D9-4017-8908-F736F7B22E69}" srcOrd="0" destOrd="0" presId="urn:microsoft.com/office/officeart/2005/8/layout/cycle3"/>
    <dgm:cxn modelId="{25B40F5A-6566-43C2-A01B-F0F2DCCFE24A}" srcId="{7E46E2D9-8916-4FA2-9071-BA49D14DC61D}" destId="{6FDEEF6F-D811-401C-BFCE-B07F2F3B6614}" srcOrd="0" destOrd="0" parTransId="{E82F3D01-4D82-4470-89D0-97BC0C9A2E43}" sibTransId="{C1F21265-2E2C-49D5-9DC9-EF86C282512A}"/>
    <dgm:cxn modelId="{14B3DA7A-B397-49F5-BCD1-444CC3B5E214}" type="presOf" srcId="{553298F2-A107-4C3B-9DC4-07B1340CF55A}" destId="{841054F1-A1FF-4D70-B890-0BD686AC5241}" srcOrd="0" destOrd="0" presId="urn:microsoft.com/office/officeart/2005/8/layout/cycle3"/>
    <dgm:cxn modelId="{925A9085-F55B-4582-AB7D-0A502043DC8E}" srcId="{7E46E2D9-8916-4FA2-9071-BA49D14DC61D}" destId="{F56DF05A-DD27-4225-871E-CD0733BD1BE1}" srcOrd="2" destOrd="0" parTransId="{74842CE7-E91C-4AF3-8A2B-214B635D5D8E}" sibTransId="{116E7ADA-7874-4C7E-B015-63FC28D27B90}"/>
    <dgm:cxn modelId="{E9D4FAA5-F6CA-41E5-95D4-C501EAE8C116}" srcId="{7E46E2D9-8916-4FA2-9071-BA49D14DC61D}" destId="{553298F2-A107-4C3B-9DC4-07B1340CF55A}" srcOrd="1" destOrd="0" parTransId="{6DDB3C80-7D22-4709-9B15-7A6CB02AC534}" sibTransId="{D32C2514-214A-4626-BE19-89A1535E5E10}"/>
    <dgm:cxn modelId="{6312B5CA-F402-484C-A00A-1297DEDD23A7}" type="presOf" srcId="{7E46E2D9-8916-4FA2-9071-BA49D14DC61D}" destId="{0627D746-A053-4061-AC13-54611BDDFCA4}" srcOrd="0" destOrd="0" presId="urn:microsoft.com/office/officeart/2005/8/layout/cycle3"/>
    <dgm:cxn modelId="{135FD1D6-6FCF-4729-B12F-3006042B9357}" type="presOf" srcId="{6FDEEF6F-D811-401C-BFCE-B07F2F3B6614}" destId="{330F4AF1-2543-452D-9E50-F5E2E7A14F48}" srcOrd="0" destOrd="0" presId="urn:microsoft.com/office/officeart/2005/8/layout/cycle3"/>
    <dgm:cxn modelId="{081BF8CC-12F0-4130-87BE-1B8C83AD84BD}" type="presParOf" srcId="{0627D746-A053-4061-AC13-54611BDDFCA4}" destId="{46682142-B287-4759-AE1E-0644881DFB0C}" srcOrd="0" destOrd="0" presId="urn:microsoft.com/office/officeart/2005/8/layout/cycle3"/>
    <dgm:cxn modelId="{462775FA-90C8-4E33-BC42-34625991B40C}" type="presParOf" srcId="{46682142-B287-4759-AE1E-0644881DFB0C}" destId="{330F4AF1-2543-452D-9E50-F5E2E7A14F48}" srcOrd="0" destOrd="0" presId="urn:microsoft.com/office/officeart/2005/8/layout/cycle3"/>
    <dgm:cxn modelId="{2F5026B3-3B02-47BF-BCC2-FC198B6AD15A}" type="presParOf" srcId="{46682142-B287-4759-AE1E-0644881DFB0C}" destId="{F383BE58-C32B-4EA8-A50C-929D59C497F5}" srcOrd="1" destOrd="0" presId="urn:microsoft.com/office/officeart/2005/8/layout/cycle3"/>
    <dgm:cxn modelId="{D18B9F61-8B09-4279-8045-9E70E6D9CB5D}" type="presParOf" srcId="{46682142-B287-4759-AE1E-0644881DFB0C}" destId="{841054F1-A1FF-4D70-B890-0BD686AC5241}" srcOrd="2" destOrd="0" presId="urn:microsoft.com/office/officeart/2005/8/layout/cycle3"/>
    <dgm:cxn modelId="{45B07A64-F59C-4FAA-934A-1E091BEAB2C0}" type="presParOf" srcId="{46682142-B287-4759-AE1E-0644881DFB0C}" destId="{97B7FC08-91D9-4017-8908-F736F7B22E69}" srcOrd="3" destOrd="0" presId="urn:microsoft.com/office/officeart/2005/8/layout/cycle3"/>
    <dgm:cxn modelId="{F907B1F7-B7B8-4E56-92B2-33C5F02E3881}" type="presParOf" srcId="{46682142-B287-4759-AE1E-0644881DFB0C}" destId="{15871B4E-208D-4BC1-980F-831FC91BB05F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F9BBAC-7E90-45A5-911A-6FC76B93021E}" type="doc">
      <dgm:prSet loTypeId="urn:microsoft.com/office/officeart/2005/8/layout/process4" loCatId="list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FE88F853-88EB-445F-8E6A-14980CF0A284}">
      <dgm:prSet phldrT="[文本]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zh-CN" altLang="en-US">
              <a:noFill/>
            </a:rPr>
            <a:t> </a:t>
          </a:r>
        </a:p>
      </dgm:t>
    </dgm:pt>
    <dgm:pt modelId="{B62CF484-7853-4E27-9D9C-D12C44A2CBF4}" type="parTrans" cxnId="{B3DFA7AC-2518-4FFD-B30E-C1E79A6E0897}">
      <dgm:prSet/>
      <dgm:spPr/>
      <dgm:t>
        <a:bodyPr/>
        <a:lstStyle/>
        <a:p>
          <a:endParaRPr lang="zh-CN" altLang="en-US"/>
        </a:p>
      </dgm:t>
    </dgm:pt>
    <dgm:pt modelId="{FBDC5ACE-0F5C-419C-9721-640E0AF6B99F}" type="sibTrans" cxnId="{B3DFA7AC-2518-4FFD-B30E-C1E79A6E0897}">
      <dgm:prSet/>
      <dgm:spPr/>
      <dgm:t>
        <a:bodyPr/>
        <a:lstStyle/>
        <a:p>
          <a:endParaRPr lang="zh-CN" altLang="en-US"/>
        </a:p>
      </dgm:t>
    </dgm:pt>
    <dgm:pt modelId="{591AC861-7627-4363-84FD-EAFD5EFC6DCA}">
      <dgm:prSet phldrT="[文本]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r>
            <a:rPr lang="zh-CN" altLang="en-US">
              <a:noFill/>
            </a:rPr>
            <a:t> </a:t>
          </a:r>
        </a:p>
      </dgm:t>
    </dgm:pt>
    <dgm:pt modelId="{98952AC7-B857-4778-9030-0547D630D777}" type="parTrans" cxnId="{7AE44D85-B6AF-4338-B14C-ECD899A848F6}">
      <dgm:prSet/>
      <dgm:spPr/>
      <dgm:t>
        <a:bodyPr/>
        <a:lstStyle/>
        <a:p>
          <a:endParaRPr lang="zh-CN" altLang="en-US"/>
        </a:p>
      </dgm:t>
    </dgm:pt>
    <dgm:pt modelId="{10F5E700-AE2A-4CE8-88E4-0143183B7EBF}" type="sibTrans" cxnId="{7AE44D85-B6AF-4338-B14C-ECD899A848F6}">
      <dgm:prSet/>
      <dgm:spPr/>
      <dgm:t>
        <a:bodyPr/>
        <a:lstStyle/>
        <a:p>
          <a:endParaRPr lang="zh-CN" altLang="en-US"/>
        </a:p>
      </dgm:t>
    </dgm:pt>
    <dgm:pt modelId="{8E85AB85-EAF2-4A2A-8BD9-423E825C1D28}">
      <dgm:prSet phldrT="[文本]"/>
      <dgm:spPr/>
      <dgm:t>
        <a:bodyPr/>
        <a:lstStyle/>
        <a:p>
          <a:r>
            <a:rPr lang="zh-CN" dirty="0">
              <a:latin typeface="微软雅黑" pitchFamily="34" charset="-122"/>
              <a:ea typeface="微软雅黑" pitchFamily="34" charset="-122"/>
            </a:rPr>
            <a:t>如果已经聚为</a:t>
          </a:r>
          <a:r>
            <a:rPr lang="en-US" altLang="zh-CN" dirty="0">
              <a:latin typeface="微软雅黑" pitchFamily="34" charset="-122"/>
              <a:ea typeface="微软雅黑" pitchFamily="34" charset="-122"/>
            </a:rPr>
            <a:t>k</a:t>
          </a:r>
          <a:r>
            <a:rPr lang="en-US" dirty="0">
              <a:latin typeface="微软雅黑" pitchFamily="34" charset="-122"/>
              <a:ea typeface="微软雅黑" pitchFamily="34" charset="-122"/>
            </a:rPr>
            <a:t> </a:t>
          </a:r>
          <a:r>
            <a:rPr lang="zh-CN" dirty="0">
              <a:latin typeface="微软雅黑" pitchFamily="34" charset="-122"/>
              <a:ea typeface="微软雅黑" pitchFamily="34" charset="-122"/>
            </a:rPr>
            <a:t>类则算法停止，否则重复步骤</a:t>
          </a:r>
          <a:r>
            <a:rPr lang="en-US" dirty="0">
              <a:latin typeface="微软雅黑" pitchFamily="34" charset="-122"/>
              <a:ea typeface="微软雅黑" pitchFamily="34" charset="-122"/>
            </a:rPr>
            <a:t>2</a:t>
          </a:r>
          <a:r>
            <a:rPr lang="zh-CN" dirty="0">
              <a:latin typeface="微软雅黑" pitchFamily="34" charset="-122"/>
              <a:ea typeface="微软雅黑" pitchFamily="34" charset="-122"/>
            </a:rPr>
            <a:t>继续合并类</a:t>
          </a:r>
          <a:endParaRPr lang="zh-CN" altLang="en-US" dirty="0">
            <a:latin typeface="微软雅黑" pitchFamily="34" charset="-122"/>
            <a:ea typeface="微软雅黑" pitchFamily="34" charset="-122"/>
          </a:endParaRPr>
        </a:p>
      </dgm:t>
    </dgm:pt>
    <dgm:pt modelId="{06FD8CDD-4357-4A22-AD5B-FD04FF5AA7A4}" type="parTrans" cxnId="{16B24977-40F6-4EB4-BFAE-CEF16301FE8B}">
      <dgm:prSet/>
      <dgm:spPr/>
      <dgm:t>
        <a:bodyPr/>
        <a:lstStyle/>
        <a:p>
          <a:endParaRPr lang="zh-CN" altLang="en-US"/>
        </a:p>
      </dgm:t>
    </dgm:pt>
    <dgm:pt modelId="{6C9C5A55-B3DB-47FF-AA77-5D09738369A0}" type="sibTrans" cxnId="{16B24977-40F6-4EB4-BFAE-CEF16301FE8B}">
      <dgm:prSet/>
      <dgm:spPr/>
      <dgm:t>
        <a:bodyPr/>
        <a:lstStyle/>
        <a:p>
          <a:endParaRPr lang="zh-CN" altLang="en-US"/>
        </a:p>
      </dgm:t>
    </dgm:pt>
    <dgm:pt modelId="{AE77284E-70D8-44F7-86F4-BF5F1E7A7BEE}" type="pres">
      <dgm:prSet presAssocID="{F5F9BBAC-7E90-45A5-911A-6FC76B93021E}" presName="Name0" presStyleCnt="0">
        <dgm:presLayoutVars>
          <dgm:dir/>
          <dgm:animLvl val="lvl"/>
          <dgm:resizeHandles val="exact"/>
        </dgm:presLayoutVars>
      </dgm:prSet>
      <dgm:spPr/>
    </dgm:pt>
    <dgm:pt modelId="{4A6D1774-92F3-4A09-B247-1E10D87B92C6}" type="pres">
      <dgm:prSet presAssocID="{8E85AB85-EAF2-4A2A-8BD9-423E825C1D28}" presName="boxAndChildren" presStyleCnt="0"/>
      <dgm:spPr/>
    </dgm:pt>
    <dgm:pt modelId="{82D697EF-FA20-4CD0-93FD-EB69FCB0CA35}" type="pres">
      <dgm:prSet presAssocID="{8E85AB85-EAF2-4A2A-8BD9-423E825C1D28}" presName="parentTextBox" presStyleLbl="node1" presStyleIdx="0" presStyleCnt="3"/>
      <dgm:spPr/>
    </dgm:pt>
    <dgm:pt modelId="{445FF638-B9D7-4389-A31C-584CAD49712E}" type="pres">
      <dgm:prSet presAssocID="{10F5E700-AE2A-4CE8-88E4-0143183B7EBF}" presName="sp" presStyleCnt="0"/>
      <dgm:spPr/>
    </dgm:pt>
    <dgm:pt modelId="{BFF29AA9-0A56-4E42-9612-196ADA8CF75D}" type="pres">
      <dgm:prSet presAssocID="{591AC861-7627-4363-84FD-EAFD5EFC6DCA}" presName="arrowAndChildren" presStyleCnt="0"/>
      <dgm:spPr/>
    </dgm:pt>
    <dgm:pt modelId="{50B7D3D0-3CDB-440C-BB48-9F47E1FBD232}" type="pres">
      <dgm:prSet presAssocID="{591AC861-7627-4363-84FD-EAFD5EFC6DCA}" presName="parentTextArrow" presStyleLbl="node1" presStyleIdx="1" presStyleCnt="3"/>
      <dgm:spPr/>
    </dgm:pt>
    <dgm:pt modelId="{84A5C1BA-BFEB-4A95-AA1A-F812DDE56F54}" type="pres">
      <dgm:prSet presAssocID="{FBDC5ACE-0F5C-419C-9721-640E0AF6B99F}" presName="sp" presStyleCnt="0"/>
      <dgm:spPr/>
    </dgm:pt>
    <dgm:pt modelId="{4ACBE81F-239F-49BB-88C6-46FCDB9D22C1}" type="pres">
      <dgm:prSet presAssocID="{FE88F853-88EB-445F-8E6A-14980CF0A284}" presName="arrowAndChildren" presStyleCnt="0"/>
      <dgm:spPr/>
    </dgm:pt>
    <dgm:pt modelId="{C46B7C36-4CBC-42EF-BE7D-5EBCB96357FC}" type="pres">
      <dgm:prSet presAssocID="{FE88F853-88EB-445F-8E6A-14980CF0A284}" presName="parentTextArrow" presStyleLbl="node1" presStyleIdx="2" presStyleCnt="3"/>
      <dgm:spPr/>
    </dgm:pt>
  </dgm:ptLst>
  <dgm:cxnLst>
    <dgm:cxn modelId="{110C3F43-62C1-42FB-AAB7-5DDB9E4403D0}" type="presOf" srcId="{8E85AB85-EAF2-4A2A-8BD9-423E825C1D28}" destId="{82D697EF-FA20-4CD0-93FD-EB69FCB0CA35}" srcOrd="0" destOrd="0" presId="urn:microsoft.com/office/officeart/2005/8/layout/process4"/>
    <dgm:cxn modelId="{16B24977-40F6-4EB4-BFAE-CEF16301FE8B}" srcId="{F5F9BBAC-7E90-45A5-911A-6FC76B93021E}" destId="{8E85AB85-EAF2-4A2A-8BD9-423E825C1D28}" srcOrd="2" destOrd="0" parTransId="{06FD8CDD-4357-4A22-AD5B-FD04FF5AA7A4}" sibTransId="{6C9C5A55-B3DB-47FF-AA77-5D09738369A0}"/>
    <dgm:cxn modelId="{7AE44D85-B6AF-4338-B14C-ECD899A848F6}" srcId="{F5F9BBAC-7E90-45A5-911A-6FC76B93021E}" destId="{591AC861-7627-4363-84FD-EAFD5EFC6DCA}" srcOrd="1" destOrd="0" parTransId="{98952AC7-B857-4778-9030-0547D630D777}" sibTransId="{10F5E700-AE2A-4CE8-88E4-0143183B7EBF}"/>
    <dgm:cxn modelId="{9FF0388C-3972-46FA-B76C-F32B54953EA1}" type="presOf" srcId="{F5F9BBAC-7E90-45A5-911A-6FC76B93021E}" destId="{AE77284E-70D8-44F7-86F4-BF5F1E7A7BEE}" srcOrd="0" destOrd="0" presId="urn:microsoft.com/office/officeart/2005/8/layout/process4"/>
    <dgm:cxn modelId="{37657CAC-A7A4-4069-AF76-0F42831A6E01}" type="presOf" srcId="{FE88F853-88EB-445F-8E6A-14980CF0A284}" destId="{C46B7C36-4CBC-42EF-BE7D-5EBCB96357FC}" srcOrd="0" destOrd="0" presId="urn:microsoft.com/office/officeart/2005/8/layout/process4"/>
    <dgm:cxn modelId="{B3DFA7AC-2518-4FFD-B30E-C1E79A6E0897}" srcId="{F5F9BBAC-7E90-45A5-911A-6FC76B93021E}" destId="{FE88F853-88EB-445F-8E6A-14980CF0A284}" srcOrd="0" destOrd="0" parTransId="{B62CF484-7853-4E27-9D9C-D12C44A2CBF4}" sibTransId="{FBDC5ACE-0F5C-419C-9721-640E0AF6B99F}"/>
    <dgm:cxn modelId="{214B67AD-4CB6-4DD6-84CE-8B939C607CF1}" type="presOf" srcId="{591AC861-7627-4363-84FD-EAFD5EFC6DCA}" destId="{50B7D3D0-3CDB-440C-BB48-9F47E1FBD232}" srcOrd="0" destOrd="0" presId="urn:microsoft.com/office/officeart/2005/8/layout/process4"/>
    <dgm:cxn modelId="{B2A1AC34-7A08-4144-8DDD-AA00786BF6F4}" type="presParOf" srcId="{AE77284E-70D8-44F7-86F4-BF5F1E7A7BEE}" destId="{4A6D1774-92F3-4A09-B247-1E10D87B92C6}" srcOrd="0" destOrd="0" presId="urn:microsoft.com/office/officeart/2005/8/layout/process4"/>
    <dgm:cxn modelId="{AC67E80A-52E9-4089-8D12-7F35ABDB162D}" type="presParOf" srcId="{4A6D1774-92F3-4A09-B247-1E10D87B92C6}" destId="{82D697EF-FA20-4CD0-93FD-EB69FCB0CA35}" srcOrd="0" destOrd="0" presId="urn:microsoft.com/office/officeart/2005/8/layout/process4"/>
    <dgm:cxn modelId="{8D3CBCF6-33A1-46DF-A02F-53FEDB013A1F}" type="presParOf" srcId="{AE77284E-70D8-44F7-86F4-BF5F1E7A7BEE}" destId="{445FF638-B9D7-4389-A31C-584CAD49712E}" srcOrd="1" destOrd="0" presId="urn:microsoft.com/office/officeart/2005/8/layout/process4"/>
    <dgm:cxn modelId="{25EC0EA6-C212-4434-BDF2-506CD1CAC966}" type="presParOf" srcId="{AE77284E-70D8-44F7-86F4-BF5F1E7A7BEE}" destId="{BFF29AA9-0A56-4E42-9612-196ADA8CF75D}" srcOrd="2" destOrd="0" presId="urn:microsoft.com/office/officeart/2005/8/layout/process4"/>
    <dgm:cxn modelId="{7B7CF41B-723A-4358-AA28-C11BC6A3D5ED}" type="presParOf" srcId="{BFF29AA9-0A56-4E42-9612-196ADA8CF75D}" destId="{50B7D3D0-3CDB-440C-BB48-9F47E1FBD232}" srcOrd="0" destOrd="0" presId="urn:microsoft.com/office/officeart/2005/8/layout/process4"/>
    <dgm:cxn modelId="{F802F04C-AE50-4B20-9EBD-0D55E45A2422}" type="presParOf" srcId="{AE77284E-70D8-44F7-86F4-BF5F1E7A7BEE}" destId="{84A5C1BA-BFEB-4A95-AA1A-F812DDE56F54}" srcOrd="3" destOrd="0" presId="urn:microsoft.com/office/officeart/2005/8/layout/process4"/>
    <dgm:cxn modelId="{E3A40FF4-3DEC-4327-9C88-200913004FEB}" type="presParOf" srcId="{AE77284E-70D8-44F7-86F4-BF5F1E7A7BEE}" destId="{4ACBE81F-239F-49BB-88C6-46FCDB9D22C1}" srcOrd="4" destOrd="0" presId="urn:microsoft.com/office/officeart/2005/8/layout/process4"/>
    <dgm:cxn modelId="{B30558BC-AF5C-4549-9932-FABC3E792C3C}" type="presParOf" srcId="{4ACBE81F-239F-49BB-88C6-46FCDB9D22C1}" destId="{C46B7C36-4CBC-42EF-BE7D-5EBCB96357F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B34E103-1395-4669-AC06-8ACD3A8036F5}" type="doc">
      <dgm:prSet loTypeId="urn:microsoft.com/office/officeart/2005/8/layout/vProcess5" loCatId="process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70A007D-949C-4028-813D-F38D73D1711A}">
      <dgm:prSet phldrT="[文本]" custT="1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zh-CN" altLang="en-US">
              <a:noFill/>
            </a:rPr>
            <a:t> </a:t>
          </a:r>
        </a:p>
      </dgm:t>
    </dgm:pt>
    <dgm:pt modelId="{1377E8BB-5A60-4B1B-90B7-82F457018BDF}" type="parTrans" cxnId="{BD2C5906-2C60-4DA0-9A3D-28ED6F4D8A57}">
      <dgm:prSet/>
      <dgm:spPr/>
      <dgm:t>
        <a:bodyPr/>
        <a:lstStyle/>
        <a:p>
          <a:endParaRPr lang="zh-CN" altLang="en-US"/>
        </a:p>
      </dgm:t>
    </dgm:pt>
    <dgm:pt modelId="{C9805DA3-B140-4EEB-BDDF-99AF1843E65D}" type="sibTrans" cxnId="{BD2C5906-2C60-4DA0-9A3D-28ED6F4D8A57}">
      <dgm:prSet/>
      <dgm:spPr/>
      <dgm:t>
        <a:bodyPr/>
        <a:lstStyle/>
        <a:p>
          <a:endParaRPr lang="zh-CN" altLang="en-US"/>
        </a:p>
      </dgm:t>
    </dgm:pt>
    <dgm:pt modelId="{0AC35D71-5D91-41DC-8526-09477925108E}">
      <dgm:prSet phldrT="[文本]" custT="1"/>
      <dgm:spPr/>
      <dgm:t>
        <a:bodyPr/>
        <a:lstStyle/>
        <a:p>
          <a:r>
            <a:rPr lang="zh-CN" sz="2000" dirty="0">
              <a:latin typeface="微软雅黑" pitchFamily="34" charset="-122"/>
              <a:ea typeface="微软雅黑" pitchFamily="34" charset="-122"/>
            </a:rPr>
            <a:t>从对象集合</a:t>
          </a:r>
          <a:r>
            <a:rPr lang="en-US" sz="2000" dirty="0">
              <a:latin typeface="微软雅黑" pitchFamily="34" charset="-122"/>
              <a:ea typeface="微软雅黑" pitchFamily="34" charset="-122"/>
            </a:rPr>
            <a:t>D</a:t>
          </a:r>
          <a:r>
            <a:rPr lang="zh-CN" sz="2000" dirty="0">
              <a:latin typeface="微软雅黑" pitchFamily="34" charset="-122"/>
              <a:ea typeface="微软雅黑" pitchFamily="34" charset="-122"/>
            </a:rPr>
            <a:t>中抽取未被访问过的样本点</a:t>
          </a:r>
          <a:r>
            <a:rPr lang="en-US" altLang="zh-CN" sz="2000" dirty="0">
              <a:latin typeface="微软雅黑" pitchFamily="34" charset="-122"/>
              <a:ea typeface="微软雅黑" pitchFamily="34" charset="-122"/>
            </a:rPr>
            <a:t>q</a:t>
          </a:r>
          <a:r>
            <a:rPr lang="en-US" sz="2000" dirty="0">
              <a:latin typeface="微软雅黑" pitchFamily="34" charset="-122"/>
              <a:ea typeface="微软雅黑" pitchFamily="34" charset="-122"/>
            </a:rPr>
            <a:t> </a:t>
          </a:r>
          <a:endParaRPr lang="zh-CN" altLang="en-US" sz="2000" dirty="0">
            <a:latin typeface="微软雅黑" pitchFamily="34" charset="-122"/>
            <a:ea typeface="微软雅黑" pitchFamily="34" charset="-122"/>
          </a:endParaRPr>
        </a:p>
      </dgm:t>
    </dgm:pt>
    <dgm:pt modelId="{4DC6E382-BD4F-4B2C-8C2B-061320376745}" type="parTrans" cxnId="{233D2C2A-68BD-47B9-BF4C-3C58A125A238}">
      <dgm:prSet/>
      <dgm:spPr/>
      <dgm:t>
        <a:bodyPr/>
        <a:lstStyle/>
        <a:p>
          <a:endParaRPr lang="zh-CN" altLang="en-US"/>
        </a:p>
      </dgm:t>
    </dgm:pt>
    <dgm:pt modelId="{22CBF1A7-02E3-4589-8C06-0C3FDFE680B0}" type="sibTrans" cxnId="{233D2C2A-68BD-47B9-BF4C-3C58A125A238}">
      <dgm:prSet/>
      <dgm:spPr/>
      <dgm:t>
        <a:bodyPr/>
        <a:lstStyle/>
        <a:p>
          <a:endParaRPr lang="zh-CN" altLang="en-US"/>
        </a:p>
      </dgm:t>
    </dgm:pt>
    <dgm:pt modelId="{9F7EC62D-F531-4339-85BF-D1E84242003E}">
      <dgm:prSet phldrT="[文本]" custT="1"/>
      <dgm:spPr/>
      <dgm:t>
        <a:bodyPr/>
        <a:lstStyle/>
        <a:p>
          <a:r>
            <a:rPr lang="zh-CN" altLang="en-US" sz="2000" dirty="0">
              <a:latin typeface="微软雅黑" pitchFamily="34" charset="-122"/>
              <a:ea typeface="微软雅黑" pitchFamily="34" charset="-122"/>
            </a:rPr>
            <a:t>检验该样本点是否为核心对象，如果是则进入下一步，否则返回上一步</a:t>
          </a:r>
        </a:p>
      </dgm:t>
    </dgm:pt>
    <dgm:pt modelId="{5C3DAD50-FD5B-473C-9ACC-037AEB57F591}" type="parTrans" cxnId="{8AF88F07-1593-4C30-BE4E-87EA968253D4}">
      <dgm:prSet/>
      <dgm:spPr/>
      <dgm:t>
        <a:bodyPr/>
        <a:lstStyle/>
        <a:p>
          <a:endParaRPr lang="zh-CN" altLang="en-US"/>
        </a:p>
      </dgm:t>
    </dgm:pt>
    <dgm:pt modelId="{2A995211-CDA0-4052-9DE5-F97C1FC6D93E}" type="sibTrans" cxnId="{8AF88F07-1593-4C30-BE4E-87EA968253D4}">
      <dgm:prSet/>
      <dgm:spPr/>
      <dgm:t>
        <a:bodyPr/>
        <a:lstStyle/>
        <a:p>
          <a:endParaRPr lang="zh-CN" altLang="en-US"/>
        </a:p>
      </dgm:t>
    </dgm:pt>
    <dgm:pt modelId="{78D41C2C-1561-4EB9-AA11-E8E9E9A4360F}">
      <dgm:prSet phldrT="[文本]" custT="1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r>
            <a:rPr lang="zh-CN" altLang="en-US">
              <a:noFill/>
            </a:rPr>
            <a:t> </a:t>
          </a:r>
        </a:p>
      </dgm:t>
    </dgm:pt>
    <dgm:pt modelId="{152937FB-BD55-43B8-9077-310CCE208FB3}" type="parTrans" cxnId="{A8D18734-9CFB-4364-B7EF-36B9767C3905}">
      <dgm:prSet/>
      <dgm:spPr/>
      <dgm:t>
        <a:bodyPr/>
        <a:lstStyle/>
        <a:p>
          <a:endParaRPr lang="zh-CN" altLang="en-US"/>
        </a:p>
      </dgm:t>
    </dgm:pt>
    <dgm:pt modelId="{2D214CEB-889E-46CE-8353-6ACEAC56CEEF}" type="sibTrans" cxnId="{A8D18734-9CFB-4364-B7EF-36B9767C3905}">
      <dgm:prSet/>
      <dgm:spPr/>
      <dgm:t>
        <a:bodyPr/>
        <a:lstStyle/>
        <a:p>
          <a:endParaRPr lang="zh-CN" altLang="en-US"/>
        </a:p>
      </dgm:t>
    </dgm:pt>
    <dgm:pt modelId="{A333BC2B-2E0D-4673-96FD-EB151B2820C2}">
      <dgm:prSet phldrT="[文本]" custT="1"/>
      <dgm:spPr/>
      <dgm:t>
        <a:bodyPr/>
        <a:lstStyle/>
        <a:p>
          <a:r>
            <a:rPr lang="zh-CN" sz="2000" dirty="0">
              <a:latin typeface="微软雅黑" pitchFamily="34" charset="-122"/>
              <a:ea typeface="微软雅黑" pitchFamily="34" charset="-122"/>
            </a:rPr>
            <a:t>如果全部样本点都已被访问，则结束算法，否则返回</a:t>
          </a:r>
          <a:r>
            <a:rPr lang="zh-CN" altLang="en-US" sz="2000" dirty="0">
              <a:latin typeface="微软雅黑" pitchFamily="34" charset="-122"/>
              <a:ea typeface="微软雅黑" pitchFamily="34" charset="-122"/>
            </a:rPr>
            <a:t>第</a:t>
          </a:r>
          <a:r>
            <a:rPr lang="en-US" altLang="zh-CN" sz="2000" dirty="0">
              <a:latin typeface="微软雅黑" pitchFamily="34" charset="-122"/>
              <a:ea typeface="微软雅黑" pitchFamily="34" charset="-122"/>
            </a:rPr>
            <a:t>2</a:t>
          </a:r>
          <a:r>
            <a:rPr lang="zh-CN" sz="2000" dirty="0">
              <a:latin typeface="微软雅黑" pitchFamily="34" charset="-122"/>
              <a:ea typeface="微软雅黑" pitchFamily="34" charset="-122"/>
            </a:rPr>
            <a:t>步骤</a:t>
          </a:r>
          <a:endParaRPr lang="zh-CN" altLang="en-US" sz="2000" dirty="0">
            <a:latin typeface="微软雅黑" pitchFamily="34" charset="-122"/>
            <a:ea typeface="微软雅黑" pitchFamily="34" charset="-122"/>
          </a:endParaRPr>
        </a:p>
      </dgm:t>
    </dgm:pt>
    <dgm:pt modelId="{AC500F00-C29B-46E6-B480-CA0EC7240B01}" type="parTrans" cxnId="{C565D8EE-CACD-4DAA-8A2F-E4E0ABEB384A}">
      <dgm:prSet/>
      <dgm:spPr/>
      <dgm:t>
        <a:bodyPr/>
        <a:lstStyle/>
        <a:p>
          <a:endParaRPr lang="zh-CN" altLang="en-US"/>
        </a:p>
      </dgm:t>
    </dgm:pt>
    <dgm:pt modelId="{C7C84E7F-29A8-465C-B020-88592CA0CA72}" type="sibTrans" cxnId="{C565D8EE-CACD-4DAA-8A2F-E4E0ABEB384A}">
      <dgm:prSet/>
      <dgm:spPr/>
      <dgm:t>
        <a:bodyPr/>
        <a:lstStyle/>
        <a:p>
          <a:endParaRPr lang="zh-CN" altLang="en-US"/>
        </a:p>
      </dgm:t>
    </dgm:pt>
    <dgm:pt modelId="{5B2B9A05-68C6-4CE0-88D4-FC515A7CE804}" type="pres">
      <dgm:prSet presAssocID="{1B34E103-1395-4669-AC06-8ACD3A8036F5}" presName="outerComposite" presStyleCnt="0">
        <dgm:presLayoutVars>
          <dgm:chMax val="5"/>
          <dgm:dir/>
          <dgm:resizeHandles val="exact"/>
        </dgm:presLayoutVars>
      </dgm:prSet>
      <dgm:spPr/>
    </dgm:pt>
    <dgm:pt modelId="{CCB5454D-2FCC-4DAC-A394-EB210178C766}" type="pres">
      <dgm:prSet presAssocID="{1B34E103-1395-4669-AC06-8ACD3A8036F5}" presName="dummyMaxCanvas" presStyleCnt="0">
        <dgm:presLayoutVars/>
      </dgm:prSet>
      <dgm:spPr/>
    </dgm:pt>
    <dgm:pt modelId="{2D1E0A96-ACB8-46B3-A17E-FA1430D402BB}" type="pres">
      <dgm:prSet presAssocID="{1B34E103-1395-4669-AC06-8ACD3A8036F5}" presName="FiveNodes_1" presStyleLbl="node1" presStyleIdx="0" presStyleCnt="5">
        <dgm:presLayoutVars>
          <dgm:bulletEnabled val="1"/>
        </dgm:presLayoutVars>
      </dgm:prSet>
      <dgm:spPr/>
    </dgm:pt>
    <dgm:pt modelId="{691562FE-936D-466A-AB50-BA14B6AEEEB9}" type="pres">
      <dgm:prSet presAssocID="{1B34E103-1395-4669-AC06-8ACD3A8036F5}" presName="FiveNodes_2" presStyleLbl="node1" presStyleIdx="1" presStyleCnt="5">
        <dgm:presLayoutVars>
          <dgm:bulletEnabled val="1"/>
        </dgm:presLayoutVars>
      </dgm:prSet>
      <dgm:spPr/>
    </dgm:pt>
    <dgm:pt modelId="{8C6B4DA0-6DD6-4560-8D37-C1B5CCCC9C4E}" type="pres">
      <dgm:prSet presAssocID="{1B34E103-1395-4669-AC06-8ACD3A8036F5}" presName="FiveNodes_3" presStyleLbl="node1" presStyleIdx="2" presStyleCnt="5">
        <dgm:presLayoutVars>
          <dgm:bulletEnabled val="1"/>
        </dgm:presLayoutVars>
      </dgm:prSet>
      <dgm:spPr/>
    </dgm:pt>
    <dgm:pt modelId="{5C8EB440-859C-4071-B071-FB0E96789A39}" type="pres">
      <dgm:prSet presAssocID="{1B34E103-1395-4669-AC06-8ACD3A8036F5}" presName="FiveNodes_4" presStyleLbl="node1" presStyleIdx="3" presStyleCnt="5">
        <dgm:presLayoutVars>
          <dgm:bulletEnabled val="1"/>
        </dgm:presLayoutVars>
      </dgm:prSet>
      <dgm:spPr/>
    </dgm:pt>
    <dgm:pt modelId="{15475808-B4EE-4708-AF8D-FEA82B325B8A}" type="pres">
      <dgm:prSet presAssocID="{1B34E103-1395-4669-AC06-8ACD3A8036F5}" presName="FiveNodes_5" presStyleLbl="node1" presStyleIdx="4" presStyleCnt="5" custLinFactNeighborX="-1252">
        <dgm:presLayoutVars>
          <dgm:bulletEnabled val="1"/>
        </dgm:presLayoutVars>
      </dgm:prSet>
      <dgm:spPr/>
    </dgm:pt>
    <dgm:pt modelId="{9E48500C-B145-462C-A3B9-AD42CFA6E254}" type="pres">
      <dgm:prSet presAssocID="{1B34E103-1395-4669-AC06-8ACD3A8036F5}" presName="FiveConn_1-2" presStyleLbl="fgAccFollowNode1" presStyleIdx="0" presStyleCnt="4">
        <dgm:presLayoutVars>
          <dgm:bulletEnabled val="1"/>
        </dgm:presLayoutVars>
      </dgm:prSet>
      <dgm:spPr/>
    </dgm:pt>
    <dgm:pt modelId="{ACC3CB4C-CBF2-48EF-ACE7-496510CFBB6F}" type="pres">
      <dgm:prSet presAssocID="{1B34E103-1395-4669-AC06-8ACD3A8036F5}" presName="FiveConn_2-3" presStyleLbl="fgAccFollowNode1" presStyleIdx="1" presStyleCnt="4">
        <dgm:presLayoutVars>
          <dgm:bulletEnabled val="1"/>
        </dgm:presLayoutVars>
      </dgm:prSet>
      <dgm:spPr/>
    </dgm:pt>
    <dgm:pt modelId="{EC6FF996-2749-4EA0-AABA-AF47D0AA39B2}" type="pres">
      <dgm:prSet presAssocID="{1B34E103-1395-4669-AC06-8ACD3A8036F5}" presName="FiveConn_3-4" presStyleLbl="fgAccFollowNode1" presStyleIdx="2" presStyleCnt="4">
        <dgm:presLayoutVars>
          <dgm:bulletEnabled val="1"/>
        </dgm:presLayoutVars>
      </dgm:prSet>
      <dgm:spPr/>
    </dgm:pt>
    <dgm:pt modelId="{D84B890A-A9B3-4B80-B348-2DD1A49B2A1A}" type="pres">
      <dgm:prSet presAssocID="{1B34E103-1395-4669-AC06-8ACD3A8036F5}" presName="FiveConn_4-5" presStyleLbl="fgAccFollowNode1" presStyleIdx="3" presStyleCnt="4">
        <dgm:presLayoutVars>
          <dgm:bulletEnabled val="1"/>
        </dgm:presLayoutVars>
      </dgm:prSet>
      <dgm:spPr/>
    </dgm:pt>
    <dgm:pt modelId="{982230E1-BD1B-43C5-818F-A1217DE148B8}" type="pres">
      <dgm:prSet presAssocID="{1B34E103-1395-4669-AC06-8ACD3A8036F5}" presName="FiveNodes_1_text" presStyleLbl="node1" presStyleIdx="4" presStyleCnt="5">
        <dgm:presLayoutVars>
          <dgm:bulletEnabled val="1"/>
        </dgm:presLayoutVars>
      </dgm:prSet>
      <dgm:spPr/>
    </dgm:pt>
    <dgm:pt modelId="{9B100045-B658-44BA-934D-A29EC01BC1FC}" type="pres">
      <dgm:prSet presAssocID="{1B34E103-1395-4669-AC06-8ACD3A8036F5}" presName="FiveNodes_2_text" presStyleLbl="node1" presStyleIdx="4" presStyleCnt="5">
        <dgm:presLayoutVars>
          <dgm:bulletEnabled val="1"/>
        </dgm:presLayoutVars>
      </dgm:prSet>
      <dgm:spPr/>
    </dgm:pt>
    <dgm:pt modelId="{E6E60AEC-A5FF-47E5-8B3F-FB5F5B465F50}" type="pres">
      <dgm:prSet presAssocID="{1B34E103-1395-4669-AC06-8ACD3A8036F5}" presName="FiveNodes_3_text" presStyleLbl="node1" presStyleIdx="4" presStyleCnt="5">
        <dgm:presLayoutVars>
          <dgm:bulletEnabled val="1"/>
        </dgm:presLayoutVars>
      </dgm:prSet>
      <dgm:spPr/>
    </dgm:pt>
    <dgm:pt modelId="{1DB94ED7-D4AF-43D4-A985-118AF2264DEB}" type="pres">
      <dgm:prSet presAssocID="{1B34E103-1395-4669-AC06-8ACD3A8036F5}" presName="FiveNodes_4_text" presStyleLbl="node1" presStyleIdx="4" presStyleCnt="5">
        <dgm:presLayoutVars>
          <dgm:bulletEnabled val="1"/>
        </dgm:presLayoutVars>
      </dgm:prSet>
      <dgm:spPr/>
    </dgm:pt>
    <dgm:pt modelId="{55CA1EF0-4D1F-4ED9-B867-D95756FD3068}" type="pres">
      <dgm:prSet presAssocID="{1B34E103-1395-4669-AC06-8ACD3A8036F5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BD2C5906-2C60-4DA0-9A3D-28ED6F4D8A57}" srcId="{1B34E103-1395-4669-AC06-8ACD3A8036F5}" destId="{A70A007D-949C-4028-813D-F38D73D1711A}" srcOrd="0" destOrd="0" parTransId="{1377E8BB-5A60-4B1B-90B7-82F457018BDF}" sibTransId="{C9805DA3-B140-4EEB-BDDF-99AF1843E65D}"/>
    <dgm:cxn modelId="{8AF88F07-1593-4C30-BE4E-87EA968253D4}" srcId="{1B34E103-1395-4669-AC06-8ACD3A8036F5}" destId="{9F7EC62D-F531-4339-85BF-D1E84242003E}" srcOrd="2" destOrd="0" parTransId="{5C3DAD50-FD5B-473C-9ACC-037AEB57F591}" sibTransId="{2A995211-CDA0-4052-9DE5-F97C1FC6D93E}"/>
    <dgm:cxn modelId="{44C3340F-FB45-42EA-B25B-65EBCF81CC83}" type="presOf" srcId="{A333BC2B-2E0D-4673-96FD-EB151B2820C2}" destId="{15475808-B4EE-4708-AF8D-FEA82B325B8A}" srcOrd="0" destOrd="0" presId="urn:microsoft.com/office/officeart/2005/8/layout/vProcess5"/>
    <dgm:cxn modelId="{59F3DA11-8AE0-412A-ACA6-FA7EB9A528CF}" type="presOf" srcId="{1B34E103-1395-4669-AC06-8ACD3A8036F5}" destId="{5B2B9A05-68C6-4CE0-88D4-FC515A7CE804}" srcOrd="0" destOrd="0" presId="urn:microsoft.com/office/officeart/2005/8/layout/vProcess5"/>
    <dgm:cxn modelId="{A32D1C1B-86CD-46CF-8D26-21146BAD533B}" type="presOf" srcId="{0AC35D71-5D91-41DC-8526-09477925108E}" destId="{9B100045-B658-44BA-934D-A29EC01BC1FC}" srcOrd="1" destOrd="0" presId="urn:microsoft.com/office/officeart/2005/8/layout/vProcess5"/>
    <dgm:cxn modelId="{98E02025-85A8-4FE0-BEC7-1FFE2D529FE2}" type="presOf" srcId="{A333BC2B-2E0D-4673-96FD-EB151B2820C2}" destId="{55CA1EF0-4D1F-4ED9-B867-D95756FD3068}" srcOrd="1" destOrd="0" presId="urn:microsoft.com/office/officeart/2005/8/layout/vProcess5"/>
    <dgm:cxn modelId="{233D2C2A-68BD-47B9-BF4C-3C58A125A238}" srcId="{1B34E103-1395-4669-AC06-8ACD3A8036F5}" destId="{0AC35D71-5D91-41DC-8526-09477925108E}" srcOrd="1" destOrd="0" parTransId="{4DC6E382-BD4F-4B2C-8C2B-061320376745}" sibTransId="{22CBF1A7-02E3-4589-8C06-0C3FDFE680B0}"/>
    <dgm:cxn modelId="{A8D18734-9CFB-4364-B7EF-36B9767C3905}" srcId="{1B34E103-1395-4669-AC06-8ACD3A8036F5}" destId="{78D41C2C-1561-4EB9-AA11-E8E9E9A4360F}" srcOrd="3" destOrd="0" parTransId="{152937FB-BD55-43B8-9077-310CCE208FB3}" sibTransId="{2D214CEB-889E-46CE-8353-6ACEAC56CEEF}"/>
    <dgm:cxn modelId="{A8AF305C-36E7-462F-B6C6-8537A1B90C03}" type="presOf" srcId="{0AC35D71-5D91-41DC-8526-09477925108E}" destId="{691562FE-936D-466A-AB50-BA14B6AEEEB9}" srcOrd="0" destOrd="0" presId="urn:microsoft.com/office/officeart/2005/8/layout/vProcess5"/>
    <dgm:cxn modelId="{C7111644-37D4-44BF-8731-F2750E47C9BC}" type="presOf" srcId="{9F7EC62D-F531-4339-85BF-D1E84242003E}" destId="{E6E60AEC-A5FF-47E5-8B3F-FB5F5B465F50}" srcOrd="1" destOrd="0" presId="urn:microsoft.com/office/officeart/2005/8/layout/vProcess5"/>
    <dgm:cxn modelId="{938C2E49-8057-41FE-BB46-56177CC40DA9}" type="presOf" srcId="{78D41C2C-1561-4EB9-AA11-E8E9E9A4360F}" destId="{5C8EB440-859C-4071-B071-FB0E96789A39}" srcOrd="0" destOrd="0" presId="urn:microsoft.com/office/officeart/2005/8/layout/vProcess5"/>
    <dgm:cxn modelId="{C41F256C-4ECB-4BAE-91F5-DF5E741EC352}" type="presOf" srcId="{A70A007D-949C-4028-813D-F38D73D1711A}" destId="{2D1E0A96-ACB8-46B3-A17E-FA1430D402BB}" srcOrd="0" destOrd="0" presId="urn:microsoft.com/office/officeart/2005/8/layout/vProcess5"/>
    <dgm:cxn modelId="{91572E6F-2E5D-4609-A946-6D864B81DCB2}" type="presOf" srcId="{2A995211-CDA0-4052-9DE5-F97C1FC6D93E}" destId="{EC6FF996-2749-4EA0-AABA-AF47D0AA39B2}" srcOrd="0" destOrd="0" presId="urn:microsoft.com/office/officeart/2005/8/layout/vProcess5"/>
    <dgm:cxn modelId="{D2C3557A-387F-41DB-8D96-61F93DFE4275}" type="presOf" srcId="{C9805DA3-B140-4EEB-BDDF-99AF1843E65D}" destId="{9E48500C-B145-462C-A3B9-AD42CFA6E254}" srcOrd="0" destOrd="0" presId="urn:microsoft.com/office/officeart/2005/8/layout/vProcess5"/>
    <dgm:cxn modelId="{10BFB68A-F2D7-4102-8420-C5E631BD9D5A}" type="presOf" srcId="{A70A007D-949C-4028-813D-F38D73D1711A}" destId="{982230E1-BD1B-43C5-818F-A1217DE148B8}" srcOrd="1" destOrd="0" presId="urn:microsoft.com/office/officeart/2005/8/layout/vProcess5"/>
    <dgm:cxn modelId="{1902E7BE-61F0-48BD-8352-3562C427CB64}" type="presOf" srcId="{2D214CEB-889E-46CE-8353-6ACEAC56CEEF}" destId="{D84B890A-A9B3-4B80-B348-2DD1A49B2A1A}" srcOrd="0" destOrd="0" presId="urn:microsoft.com/office/officeart/2005/8/layout/vProcess5"/>
    <dgm:cxn modelId="{A5D305D5-1EFD-41E7-99FC-5616583B5426}" type="presOf" srcId="{22CBF1A7-02E3-4589-8C06-0C3FDFE680B0}" destId="{ACC3CB4C-CBF2-48EF-ACE7-496510CFBB6F}" srcOrd="0" destOrd="0" presId="urn:microsoft.com/office/officeart/2005/8/layout/vProcess5"/>
    <dgm:cxn modelId="{9AECCEEA-9DD7-4BAD-8F9C-C3351DFEBB26}" type="presOf" srcId="{9F7EC62D-F531-4339-85BF-D1E84242003E}" destId="{8C6B4DA0-6DD6-4560-8D37-C1B5CCCC9C4E}" srcOrd="0" destOrd="0" presId="urn:microsoft.com/office/officeart/2005/8/layout/vProcess5"/>
    <dgm:cxn modelId="{C565D8EE-CACD-4DAA-8A2F-E4E0ABEB384A}" srcId="{1B34E103-1395-4669-AC06-8ACD3A8036F5}" destId="{A333BC2B-2E0D-4673-96FD-EB151B2820C2}" srcOrd="4" destOrd="0" parTransId="{AC500F00-C29B-46E6-B480-CA0EC7240B01}" sibTransId="{C7C84E7F-29A8-465C-B020-88592CA0CA72}"/>
    <dgm:cxn modelId="{A2395BF4-E8CC-4A24-BEDF-69BD8464CAAA}" type="presOf" srcId="{78D41C2C-1561-4EB9-AA11-E8E9E9A4360F}" destId="{1DB94ED7-D4AF-43D4-A985-118AF2264DEB}" srcOrd="1" destOrd="0" presId="urn:microsoft.com/office/officeart/2005/8/layout/vProcess5"/>
    <dgm:cxn modelId="{0889D44B-A20A-495D-9A5A-4B0F85F21BB1}" type="presParOf" srcId="{5B2B9A05-68C6-4CE0-88D4-FC515A7CE804}" destId="{CCB5454D-2FCC-4DAC-A394-EB210178C766}" srcOrd="0" destOrd="0" presId="urn:microsoft.com/office/officeart/2005/8/layout/vProcess5"/>
    <dgm:cxn modelId="{CD5CC2B9-29A4-43AD-A086-426F9850A700}" type="presParOf" srcId="{5B2B9A05-68C6-4CE0-88D4-FC515A7CE804}" destId="{2D1E0A96-ACB8-46B3-A17E-FA1430D402BB}" srcOrd="1" destOrd="0" presId="urn:microsoft.com/office/officeart/2005/8/layout/vProcess5"/>
    <dgm:cxn modelId="{EF07C3F6-0AE9-49B3-B505-8B39FC5C10CA}" type="presParOf" srcId="{5B2B9A05-68C6-4CE0-88D4-FC515A7CE804}" destId="{691562FE-936D-466A-AB50-BA14B6AEEEB9}" srcOrd="2" destOrd="0" presId="urn:microsoft.com/office/officeart/2005/8/layout/vProcess5"/>
    <dgm:cxn modelId="{23D22ACB-0BC7-4AD9-887F-95AF2C0E91B3}" type="presParOf" srcId="{5B2B9A05-68C6-4CE0-88D4-FC515A7CE804}" destId="{8C6B4DA0-6DD6-4560-8D37-C1B5CCCC9C4E}" srcOrd="3" destOrd="0" presId="urn:microsoft.com/office/officeart/2005/8/layout/vProcess5"/>
    <dgm:cxn modelId="{514DAA1A-F13A-44B4-A370-B12B1444FF63}" type="presParOf" srcId="{5B2B9A05-68C6-4CE0-88D4-FC515A7CE804}" destId="{5C8EB440-859C-4071-B071-FB0E96789A39}" srcOrd="4" destOrd="0" presId="urn:microsoft.com/office/officeart/2005/8/layout/vProcess5"/>
    <dgm:cxn modelId="{32752F8D-FA6D-4619-AE67-044A58507271}" type="presParOf" srcId="{5B2B9A05-68C6-4CE0-88D4-FC515A7CE804}" destId="{15475808-B4EE-4708-AF8D-FEA82B325B8A}" srcOrd="5" destOrd="0" presId="urn:microsoft.com/office/officeart/2005/8/layout/vProcess5"/>
    <dgm:cxn modelId="{DBD86380-7E7A-4C6D-B4E2-85EA351EADC5}" type="presParOf" srcId="{5B2B9A05-68C6-4CE0-88D4-FC515A7CE804}" destId="{9E48500C-B145-462C-A3B9-AD42CFA6E254}" srcOrd="6" destOrd="0" presId="urn:microsoft.com/office/officeart/2005/8/layout/vProcess5"/>
    <dgm:cxn modelId="{2E7B7C0B-9E0C-4D14-B11D-DC458BE3AF44}" type="presParOf" srcId="{5B2B9A05-68C6-4CE0-88D4-FC515A7CE804}" destId="{ACC3CB4C-CBF2-48EF-ACE7-496510CFBB6F}" srcOrd="7" destOrd="0" presId="urn:microsoft.com/office/officeart/2005/8/layout/vProcess5"/>
    <dgm:cxn modelId="{EF501518-21E0-4583-8B8C-666A31168712}" type="presParOf" srcId="{5B2B9A05-68C6-4CE0-88D4-FC515A7CE804}" destId="{EC6FF996-2749-4EA0-AABA-AF47D0AA39B2}" srcOrd="8" destOrd="0" presId="urn:microsoft.com/office/officeart/2005/8/layout/vProcess5"/>
    <dgm:cxn modelId="{7BF10790-752A-4879-BC3D-DE111D70E9D7}" type="presParOf" srcId="{5B2B9A05-68C6-4CE0-88D4-FC515A7CE804}" destId="{D84B890A-A9B3-4B80-B348-2DD1A49B2A1A}" srcOrd="9" destOrd="0" presId="urn:microsoft.com/office/officeart/2005/8/layout/vProcess5"/>
    <dgm:cxn modelId="{BAAD23E6-81E0-4AB5-8E1C-0CF90DA4FF12}" type="presParOf" srcId="{5B2B9A05-68C6-4CE0-88D4-FC515A7CE804}" destId="{982230E1-BD1B-43C5-818F-A1217DE148B8}" srcOrd="10" destOrd="0" presId="urn:microsoft.com/office/officeart/2005/8/layout/vProcess5"/>
    <dgm:cxn modelId="{5F4A7168-95DF-4D4F-A659-845F6618ED4B}" type="presParOf" srcId="{5B2B9A05-68C6-4CE0-88D4-FC515A7CE804}" destId="{9B100045-B658-44BA-934D-A29EC01BC1FC}" srcOrd="11" destOrd="0" presId="urn:microsoft.com/office/officeart/2005/8/layout/vProcess5"/>
    <dgm:cxn modelId="{9AB16029-B40C-45C4-9428-FCB9B199E21D}" type="presParOf" srcId="{5B2B9A05-68C6-4CE0-88D4-FC515A7CE804}" destId="{E6E60AEC-A5FF-47E5-8B3F-FB5F5B465F50}" srcOrd="12" destOrd="0" presId="urn:microsoft.com/office/officeart/2005/8/layout/vProcess5"/>
    <dgm:cxn modelId="{F8A9BCE5-8D45-4B10-9592-9D171F79CBA6}" type="presParOf" srcId="{5B2B9A05-68C6-4CE0-88D4-FC515A7CE804}" destId="{1DB94ED7-D4AF-43D4-A985-118AF2264DEB}" srcOrd="13" destOrd="0" presId="urn:microsoft.com/office/officeart/2005/8/layout/vProcess5"/>
    <dgm:cxn modelId="{B13683F0-AAB1-4DFE-BC57-570B838C37A3}" type="presParOf" srcId="{5B2B9A05-68C6-4CE0-88D4-FC515A7CE804}" destId="{55CA1EF0-4D1F-4ED9-B867-D95756FD3068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83BE58-C32B-4EA8-A50C-929D59C497F5}">
      <dsp:nvSpPr>
        <dsp:cNvPr id="0" name=""/>
        <dsp:cNvSpPr/>
      </dsp:nvSpPr>
      <dsp:spPr>
        <a:xfrm>
          <a:off x="1585538" y="-121932"/>
          <a:ext cx="5013810" cy="5013810"/>
        </a:xfrm>
        <a:prstGeom prst="circularArrow">
          <a:avLst>
            <a:gd name="adj1" fmla="val 4668"/>
            <a:gd name="adj2" fmla="val 272909"/>
            <a:gd name="adj3" fmla="val 12888908"/>
            <a:gd name="adj4" fmla="val 17991737"/>
            <a:gd name="adj5" fmla="val 484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0F4AF1-2543-452D-9E50-F5E2E7A14F48}">
      <dsp:nvSpPr>
        <dsp:cNvPr id="0" name=""/>
        <dsp:cNvSpPr/>
      </dsp:nvSpPr>
      <dsp:spPr>
        <a:xfrm>
          <a:off x="2447531" y="546"/>
          <a:ext cx="3289825" cy="1644912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sz="3100" kern="1200" dirty="0">
              <a:latin typeface="微软雅黑" pitchFamily="34" charset="-122"/>
              <a:ea typeface="微软雅黑" pitchFamily="34" charset="-122"/>
            </a:rPr>
            <a:t>适当选取</a:t>
          </a:r>
          <a:r>
            <a:rPr lang="en-US" sz="3100" kern="1200" dirty="0">
              <a:latin typeface="微软雅黑" pitchFamily="34" charset="-122"/>
              <a:ea typeface="微软雅黑" pitchFamily="34" charset="-122"/>
            </a:rPr>
            <a:t> K</a:t>
          </a:r>
          <a:r>
            <a:rPr lang="zh-CN" sz="3100" kern="1200" dirty="0">
              <a:latin typeface="微软雅黑" pitchFamily="34" charset="-122"/>
              <a:ea typeface="微软雅黑" pitchFamily="34" charset="-122"/>
            </a:rPr>
            <a:t>个类的初始中心</a:t>
          </a:r>
          <a:endParaRPr lang="zh-CN" altLang="en-US" sz="31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527829" y="80844"/>
        <a:ext cx="3129229" cy="1484316"/>
      </dsp:txXfrm>
    </dsp:sp>
    <dsp:sp modelId="{841054F1-A1FF-4D70-B890-0BD686AC5241}">
      <dsp:nvSpPr>
        <dsp:cNvPr id="0" name=""/>
        <dsp:cNvSpPr/>
      </dsp:nvSpPr>
      <dsp:spPr>
        <a:xfrm>
          <a:off x="4247822" y="1800837"/>
          <a:ext cx="3289825" cy="1644912"/>
        </a:xfrm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100" kern="1200">
              <a:noFill/>
            </a:rPr>
            <a:t> </a:t>
          </a:r>
        </a:p>
      </dsp:txBody>
      <dsp:txXfrm>
        <a:off x="4328120" y="1881135"/>
        <a:ext cx="3129229" cy="1484316"/>
      </dsp:txXfrm>
    </dsp:sp>
    <dsp:sp modelId="{97B7FC08-91D9-4017-8908-F736F7B22E69}">
      <dsp:nvSpPr>
        <dsp:cNvPr id="0" name=""/>
        <dsp:cNvSpPr/>
      </dsp:nvSpPr>
      <dsp:spPr>
        <a:xfrm>
          <a:off x="2447531" y="3601128"/>
          <a:ext cx="3289825" cy="1644912"/>
        </a:xfrm>
        <a:prstGeom prst="round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600" kern="1200">
              <a:noFill/>
            </a:rPr>
            <a:t> </a:t>
          </a:r>
        </a:p>
      </dsp:txBody>
      <dsp:txXfrm>
        <a:off x="2527829" y="3681426"/>
        <a:ext cx="3129229" cy="1484316"/>
      </dsp:txXfrm>
    </dsp:sp>
    <dsp:sp modelId="{15871B4E-208D-4BC1-980F-831FC91BB05F}">
      <dsp:nvSpPr>
        <dsp:cNvPr id="0" name=""/>
        <dsp:cNvSpPr/>
      </dsp:nvSpPr>
      <dsp:spPr>
        <a:xfrm>
          <a:off x="599522" y="1729456"/>
          <a:ext cx="3385295" cy="1788941"/>
        </a:xfrm>
        <a:prstGeom prst="round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600" kern="1200">
              <a:noFill/>
            </a:rPr>
            <a:t> </a:t>
          </a:r>
        </a:p>
      </dsp:txBody>
      <dsp:txXfrm>
        <a:off x="686851" y="1816785"/>
        <a:ext cx="3210637" cy="161428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D697EF-FA20-4CD0-93FD-EB69FCB0CA35}">
      <dsp:nvSpPr>
        <dsp:cNvPr id="0" name=""/>
        <dsp:cNvSpPr/>
      </dsp:nvSpPr>
      <dsp:spPr>
        <a:xfrm>
          <a:off x="0" y="3089641"/>
          <a:ext cx="6984776" cy="101408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sz="2000" kern="1200" dirty="0">
              <a:latin typeface="微软雅黑" pitchFamily="34" charset="-122"/>
              <a:ea typeface="微软雅黑" pitchFamily="34" charset="-122"/>
            </a:rPr>
            <a:t>如果已经聚为</a:t>
          </a:r>
          <a:r>
            <a:rPr lang="en-US" altLang="zh-CN" sz="2000" kern="1200" dirty="0">
              <a:latin typeface="微软雅黑" pitchFamily="34" charset="-122"/>
              <a:ea typeface="微软雅黑" pitchFamily="34" charset="-122"/>
            </a:rPr>
            <a:t>k</a:t>
          </a:r>
          <a:r>
            <a:rPr lang="en-US" sz="2000" kern="1200" dirty="0">
              <a:latin typeface="微软雅黑" pitchFamily="34" charset="-122"/>
              <a:ea typeface="微软雅黑" pitchFamily="34" charset="-122"/>
            </a:rPr>
            <a:t> </a:t>
          </a:r>
          <a:r>
            <a:rPr lang="zh-CN" sz="2000" kern="1200" dirty="0">
              <a:latin typeface="微软雅黑" pitchFamily="34" charset="-122"/>
              <a:ea typeface="微软雅黑" pitchFamily="34" charset="-122"/>
            </a:rPr>
            <a:t>类则算法停止，否则重复步骤</a:t>
          </a:r>
          <a:r>
            <a:rPr lang="en-US" sz="2000" kern="1200" dirty="0">
              <a:latin typeface="微软雅黑" pitchFamily="34" charset="-122"/>
              <a:ea typeface="微软雅黑" pitchFamily="34" charset="-122"/>
            </a:rPr>
            <a:t>2</a:t>
          </a:r>
          <a:r>
            <a:rPr lang="zh-CN" sz="2000" kern="1200" dirty="0">
              <a:latin typeface="微软雅黑" pitchFamily="34" charset="-122"/>
              <a:ea typeface="微软雅黑" pitchFamily="34" charset="-122"/>
            </a:rPr>
            <a:t>继续合并类</a:t>
          </a:r>
          <a:endParaRPr lang="zh-CN" altLang="en-US" sz="20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0" y="3089641"/>
        <a:ext cx="6984776" cy="1014089"/>
      </dsp:txXfrm>
    </dsp:sp>
    <dsp:sp modelId="{50B7D3D0-3CDB-440C-BB48-9F47E1FBD232}">
      <dsp:nvSpPr>
        <dsp:cNvPr id="0" name=""/>
        <dsp:cNvSpPr/>
      </dsp:nvSpPr>
      <dsp:spPr>
        <a:xfrm rot="10800000">
          <a:off x="0" y="1545183"/>
          <a:ext cx="6984776" cy="1559669"/>
        </a:xfrm>
        <a:prstGeom prst="upArrowCallou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>
              <a:noFill/>
            </a:rPr>
            <a:t> </a:t>
          </a:r>
        </a:p>
      </dsp:txBody>
      <dsp:txXfrm rot="10800000">
        <a:off x="0" y="1545183"/>
        <a:ext cx="6984776" cy="1013426"/>
      </dsp:txXfrm>
    </dsp:sp>
    <dsp:sp modelId="{C46B7C36-4CBC-42EF-BE7D-5EBCB96357FC}">
      <dsp:nvSpPr>
        <dsp:cNvPr id="0" name=""/>
        <dsp:cNvSpPr/>
      </dsp:nvSpPr>
      <dsp:spPr>
        <a:xfrm rot="10800000">
          <a:off x="0" y="725"/>
          <a:ext cx="6984776" cy="1559669"/>
        </a:xfrm>
        <a:prstGeom prst="upArrowCallou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>
              <a:noFill/>
            </a:rPr>
            <a:t> </a:t>
          </a:r>
        </a:p>
      </dsp:txBody>
      <dsp:txXfrm rot="10800000">
        <a:off x="0" y="725"/>
        <a:ext cx="6984776" cy="10134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1E0A96-ACB8-46B3-A17E-FA1430D402BB}">
      <dsp:nvSpPr>
        <dsp:cNvPr id="0" name=""/>
        <dsp:cNvSpPr/>
      </dsp:nvSpPr>
      <dsp:spPr>
        <a:xfrm>
          <a:off x="0" y="0"/>
          <a:ext cx="6542837" cy="86661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600" kern="1200">
              <a:noFill/>
            </a:rPr>
            <a:t> </a:t>
          </a:r>
        </a:p>
      </dsp:txBody>
      <dsp:txXfrm>
        <a:off x="25382" y="25382"/>
        <a:ext cx="5506296" cy="815853"/>
      </dsp:txXfrm>
    </dsp:sp>
    <dsp:sp modelId="{691562FE-936D-466A-AB50-BA14B6AEEEB9}">
      <dsp:nvSpPr>
        <dsp:cNvPr id="0" name=""/>
        <dsp:cNvSpPr/>
      </dsp:nvSpPr>
      <dsp:spPr>
        <a:xfrm>
          <a:off x="488588" y="986980"/>
          <a:ext cx="6542837" cy="86661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sz="2000" kern="1200" dirty="0">
              <a:latin typeface="微软雅黑" pitchFamily="34" charset="-122"/>
              <a:ea typeface="微软雅黑" pitchFamily="34" charset="-122"/>
            </a:rPr>
            <a:t>从对象集合</a:t>
          </a:r>
          <a:r>
            <a:rPr lang="en-US" sz="2000" kern="1200" dirty="0">
              <a:latin typeface="微软雅黑" pitchFamily="34" charset="-122"/>
              <a:ea typeface="微软雅黑" pitchFamily="34" charset="-122"/>
            </a:rPr>
            <a:t>D</a:t>
          </a:r>
          <a:r>
            <a:rPr lang="zh-CN" sz="2000" kern="1200" dirty="0">
              <a:latin typeface="微软雅黑" pitchFamily="34" charset="-122"/>
              <a:ea typeface="微软雅黑" pitchFamily="34" charset="-122"/>
            </a:rPr>
            <a:t>中抽取未被访问过的样本点</a:t>
          </a:r>
          <a:r>
            <a:rPr lang="en-US" altLang="zh-CN" sz="2000" kern="1200" dirty="0">
              <a:latin typeface="微软雅黑" pitchFamily="34" charset="-122"/>
              <a:ea typeface="微软雅黑" pitchFamily="34" charset="-122"/>
            </a:rPr>
            <a:t>q</a:t>
          </a:r>
          <a:r>
            <a:rPr lang="en-US" sz="2000" kern="1200" dirty="0">
              <a:latin typeface="微软雅黑" pitchFamily="34" charset="-122"/>
              <a:ea typeface="微软雅黑" pitchFamily="34" charset="-122"/>
            </a:rPr>
            <a:t> </a:t>
          </a:r>
          <a:endParaRPr lang="zh-CN" altLang="en-US" sz="20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513970" y="1012362"/>
        <a:ext cx="5440184" cy="815853"/>
      </dsp:txXfrm>
    </dsp:sp>
    <dsp:sp modelId="{8C6B4DA0-6DD6-4560-8D37-C1B5CCCC9C4E}">
      <dsp:nvSpPr>
        <dsp:cNvPr id="0" name=""/>
        <dsp:cNvSpPr/>
      </dsp:nvSpPr>
      <dsp:spPr>
        <a:xfrm>
          <a:off x="977177" y="1973961"/>
          <a:ext cx="6542837" cy="86661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kern="1200" dirty="0">
              <a:latin typeface="微软雅黑" pitchFamily="34" charset="-122"/>
              <a:ea typeface="微软雅黑" pitchFamily="34" charset="-122"/>
            </a:rPr>
            <a:t>检验该样本点是否为核心对象，如果是则进入下一步，否则返回上一步</a:t>
          </a:r>
        </a:p>
      </dsp:txBody>
      <dsp:txXfrm>
        <a:off x="1002559" y="1999343"/>
        <a:ext cx="5440184" cy="815853"/>
      </dsp:txXfrm>
    </dsp:sp>
    <dsp:sp modelId="{5C8EB440-859C-4071-B071-FB0E96789A39}">
      <dsp:nvSpPr>
        <dsp:cNvPr id="0" name=""/>
        <dsp:cNvSpPr/>
      </dsp:nvSpPr>
      <dsp:spPr>
        <a:xfrm>
          <a:off x="1465765" y="2960942"/>
          <a:ext cx="6542837" cy="86661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600" kern="1200">
              <a:noFill/>
            </a:rPr>
            <a:t> </a:t>
          </a:r>
        </a:p>
      </dsp:txBody>
      <dsp:txXfrm>
        <a:off x="1491147" y="2986324"/>
        <a:ext cx="5440184" cy="815853"/>
      </dsp:txXfrm>
    </dsp:sp>
    <dsp:sp modelId="{15475808-B4EE-4708-AF8D-FEA82B325B8A}">
      <dsp:nvSpPr>
        <dsp:cNvPr id="0" name=""/>
        <dsp:cNvSpPr/>
      </dsp:nvSpPr>
      <dsp:spPr>
        <a:xfrm>
          <a:off x="1872437" y="3947922"/>
          <a:ext cx="6542837" cy="86661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sz="2000" kern="1200" dirty="0">
              <a:latin typeface="微软雅黑" pitchFamily="34" charset="-122"/>
              <a:ea typeface="微软雅黑" pitchFamily="34" charset="-122"/>
            </a:rPr>
            <a:t>如果全部样本点都已被访问，则结束算法，否则返回</a:t>
          </a:r>
          <a:r>
            <a:rPr lang="zh-CN" altLang="en-US" sz="2000" kern="1200" dirty="0">
              <a:latin typeface="微软雅黑" pitchFamily="34" charset="-122"/>
              <a:ea typeface="微软雅黑" pitchFamily="34" charset="-122"/>
            </a:rPr>
            <a:t>第</a:t>
          </a:r>
          <a:r>
            <a:rPr lang="en-US" altLang="zh-CN" sz="2000" kern="1200" dirty="0">
              <a:latin typeface="微软雅黑" pitchFamily="34" charset="-122"/>
              <a:ea typeface="微软雅黑" pitchFamily="34" charset="-122"/>
            </a:rPr>
            <a:t>2</a:t>
          </a:r>
          <a:r>
            <a:rPr lang="zh-CN" sz="2000" kern="1200" dirty="0">
              <a:latin typeface="微软雅黑" pitchFamily="34" charset="-122"/>
              <a:ea typeface="微软雅黑" pitchFamily="34" charset="-122"/>
            </a:rPr>
            <a:t>步骤</a:t>
          </a:r>
          <a:endParaRPr lang="zh-CN" altLang="en-US" sz="20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1897819" y="3973304"/>
        <a:ext cx="5440184" cy="815853"/>
      </dsp:txXfrm>
    </dsp:sp>
    <dsp:sp modelId="{9E48500C-B145-462C-A3B9-AD42CFA6E254}">
      <dsp:nvSpPr>
        <dsp:cNvPr id="0" name=""/>
        <dsp:cNvSpPr/>
      </dsp:nvSpPr>
      <dsp:spPr>
        <a:xfrm>
          <a:off x="5979536" y="633112"/>
          <a:ext cx="563301" cy="56330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/>
        </a:p>
      </dsp:txBody>
      <dsp:txXfrm>
        <a:off x="6106279" y="633112"/>
        <a:ext cx="309815" cy="423884"/>
      </dsp:txXfrm>
    </dsp:sp>
    <dsp:sp modelId="{ACC3CB4C-CBF2-48EF-ACE7-496510CFBB6F}">
      <dsp:nvSpPr>
        <dsp:cNvPr id="0" name=""/>
        <dsp:cNvSpPr/>
      </dsp:nvSpPr>
      <dsp:spPr>
        <a:xfrm>
          <a:off x="6468125" y="1620092"/>
          <a:ext cx="563301" cy="56330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/>
        </a:p>
      </dsp:txBody>
      <dsp:txXfrm>
        <a:off x="6594868" y="1620092"/>
        <a:ext cx="309815" cy="423884"/>
      </dsp:txXfrm>
    </dsp:sp>
    <dsp:sp modelId="{EC6FF996-2749-4EA0-AABA-AF47D0AA39B2}">
      <dsp:nvSpPr>
        <dsp:cNvPr id="0" name=""/>
        <dsp:cNvSpPr/>
      </dsp:nvSpPr>
      <dsp:spPr>
        <a:xfrm>
          <a:off x="6956713" y="2592629"/>
          <a:ext cx="563301" cy="56330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/>
        </a:p>
      </dsp:txBody>
      <dsp:txXfrm>
        <a:off x="7083456" y="2592629"/>
        <a:ext cx="309815" cy="423884"/>
      </dsp:txXfrm>
    </dsp:sp>
    <dsp:sp modelId="{D84B890A-A9B3-4B80-B348-2DD1A49B2A1A}">
      <dsp:nvSpPr>
        <dsp:cNvPr id="0" name=""/>
        <dsp:cNvSpPr/>
      </dsp:nvSpPr>
      <dsp:spPr>
        <a:xfrm>
          <a:off x="7445302" y="3589239"/>
          <a:ext cx="563301" cy="56330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500" kern="1200"/>
        </a:p>
      </dsp:txBody>
      <dsp:txXfrm>
        <a:off x="7572045" y="3589239"/>
        <a:ext cx="309815" cy="4238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>
            <a:extLst>
              <a:ext uri="{FF2B5EF4-FFF2-40B4-BE49-F238E27FC236}">
                <a16:creationId xmlns:a16="http://schemas.microsoft.com/office/drawing/2014/main" id="{8A98EAE7-45C6-47BB-89B7-67EC465B570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1" name="Rectangle 3">
            <a:extLst>
              <a:ext uri="{FF2B5EF4-FFF2-40B4-BE49-F238E27FC236}">
                <a16:creationId xmlns:a16="http://schemas.microsoft.com/office/drawing/2014/main" id="{EF84A4D7-A16A-450F-8206-90EDD5545DC6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8916" name="Rectangle 4">
            <a:extLst>
              <a:ext uri="{FF2B5EF4-FFF2-40B4-BE49-F238E27FC236}">
                <a16:creationId xmlns:a16="http://schemas.microsoft.com/office/drawing/2014/main" id="{098339E1-8EC5-4A1E-8BCA-70B31B6F925B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4693" name="Rectangle 5">
            <a:extLst>
              <a:ext uri="{FF2B5EF4-FFF2-40B4-BE49-F238E27FC236}">
                <a16:creationId xmlns:a16="http://schemas.microsoft.com/office/drawing/2014/main" id="{C1A9B5AA-5945-48A3-BF09-FF642A09E340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4694" name="Rectangle 6">
            <a:extLst>
              <a:ext uri="{FF2B5EF4-FFF2-40B4-BE49-F238E27FC236}">
                <a16:creationId xmlns:a16="http://schemas.microsoft.com/office/drawing/2014/main" id="{C731FE86-E410-4E1B-A8C9-C82DC1873C5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5" name="Rectangle 7">
            <a:extLst>
              <a:ext uri="{FF2B5EF4-FFF2-40B4-BE49-F238E27FC236}">
                <a16:creationId xmlns:a16="http://schemas.microsoft.com/office/drawing/2014/main" id="{F6986661-3833-457F-8311-29FB104D45B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</a:defRPr>
            </a:lvl1pPr>
          </a:lstStyle>
          <a:p>
            <a:fld id="{479CBEE7-FEB7-48DA-8376-E05BF303843E}" type="slidenum">
              <a:rPr lang="en-US" altLang="zh-CN"/>
              <a:pPr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幻灯片图像占位符 1">
            <a:extLst>
              <a:ext uri="{FF2B5EF4-FFF2-40B4-BE49-F238E27FC236}">
                <a16:creationId xmlns:a16="http://schemas.microsoft.com/office/drawing/2014/main" id="{46FCE60A-CE52-4F0F-94A8-0BB361B8113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备注占位符 2">
            <a:extLst>
              <a:ext uri="{FF2B5EF4-FFF2-40B4-BE49-F238E27FC236}">
                <a16:creationId xmlns:a16="http://schemas.microsoft.com/office/drawing/2014/main" id="{962EE21B-A0B7-4602-B81C-36C59E124D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9940" name="灯片编号占位符 3">
            <a:extLst>
              <a:ext uri="{FF2B5EF4-FFF2-40B4-BE49-F238E27FC236}">
                <a16:creationId xmlns:a16="http://schemas.microsoft.com/office/drawing/2014/main" id="{E0434D60-AFC7-4338-8F9B-2B6DAF4EF2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A086722D-49BE-40F4-ACCF-E81179251777}" type="slidenum">
              <a:rPr lang="en-US" altLang="zh-CN" sz="1300">
                <a:solidFill>
                  <a:schemeClr val="tx1"/>
                </a:solidFill>
              </a:rPr>
              <a:pPr eaLnBrk="1" hangingPunct="1"/>
              <a:t>1</a:t>
            </a:fld>
            <a:endParaRPr lang="en-US" altLang="zh-CN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幻灯片图像占位符 1">
            <a:extLst>
              <a:ext uri="{FF2B5EF4-FFF2-40B4-BE49-F238E27FC236}">
                <a16:creationId xmlns:a16="http://schemas.microsoft.com/office/drawing/2014/main" id="{BFB7F4B3-4713-4895-A87D-0B58069DC35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备注占位符 2">
            <a:extLst>
              <a:ext uri="{FF2B5EF4-FFF2-40B4-BE49-F238E27FC236}">
                <a16:creationId xmlns:a16="http://schemas.microsoft.com/office/drawing/2014/main" id="{3C331CBF-3451-4556-9768-A0B5CABF9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0964" name="灯片编号占位符 3">
            <a:extLst>
              <a:ext uri="{FF2B5EF4-FFF2-40B4-BE49-F238E27FC236}">
                <a16:creationId xmlns:a16="http://schemas.microsoft.com/office/drawing/2014/main" id="{8EBF0CD6-2F22-41C9-A4E4-2429AA078E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03D9A0F3-610B-4F9F-B157-9FBFA079A73B}" type="slidenum">
              <a:rPr lang="zh-CN" altLang="en-US" sz="1300">
                <a:solidFill>
                  <a:schemeClr val="tx1"/>
                </a:solidFill>
              </a:rPr>
              <a:pPr eaLnBrk="1" hangingPunct="1"/>
              <a:t>2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幻灯片图像占位符 1">
            <a:extLst>
              <a:ext uri="{FF2B5EF4-FFF2-40B4-BE49-F238E27FC236}">
                <a16:creationId xmlns:a16="http://schemas.microsoft.com/office/drawing/2014/main" id="{CDD90EA8-89CB-4822-9D26-E7548AB8709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备注占位符 2">
            <a:extLst>
              <a:ext uri="{FF2B5EF4-FFF2-40B4-BE49-F238E27FC236}">
                <a16:creationId xmlns:a16="http://schemas.microsoft.com/office/drawing/2014/main" id="{9BBE53A8-9BF5-4BFD-ABD9-5B1370340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1988" name="灯片编号占位符 3">
            <a:extLst>
              <a:ext uri="{FF2B5EF4-FFF2-40B4-BE49-F238E27FC236}">
                <a16:creationId xmlns:a16="http://schemas.microsoft.com/office/drawing/2014/main" id="{659B6281-68C4-42C9-80D8-3D0F4F8E8B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AC93352C-634C-473D-9461-E90DBA7BA4BB}" type="slidenum">
              <a:rPr lang="zh-CN" altLang="en-US" sz="1300">
                <a:solidFill>
                  <a:schemeClr val="tx1"/>
                </a:solidFill>
              </a:rPr>
              <a:pPr eaLnBrk="1" hangingPunct="1"/>
              <a:t>8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幻灯片图像占位符 1">
            <a:extLst>
              <a:ext uri="{FF2B5EF4-FFF2-40B4-BE49-F238E27FC236}">
                <a16:creationId xmlns:a16="http://schemas.microsoft.com/office/drawing/2014/main" id="{C5055A9C-CDCC-4313-970C-727C7E754F3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备注占位符 2">
            <a:extLst>
              <a:ext uri="{FF2B5EF4-FFF2-40B4-BE49-F238E27FC236}">
                <a16:creationId xmlns:a16="http://schemas.microsoft.com/office/drawing/2014/main" id="{D81137E6-3526-4FBD-B2FE-01C1B2D5FF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3012" name="灯片编号占位符 3">
            <a:extLst>
              <a:ext uri="{FF2B5EF4-FFF2-40B4-BE49-F238E27FC236}">
                <a16:creationId xmlns:a16="http://schemas.microsoft.com/office/drawing/2014/main" id="{D1576856-F54C-47E7-8BF6-0C2353CF63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97E5386F-9996-4C66-8AD2-B301E0D908BB}" type="slidenum">
              <a:rPr lang="en-US" altLang="zh-CN" sz="1300">
                <a:solidFill>
                  <a:schemeClr val="tx1"/>
                </a:solidFill>
              </a:rPr>
              <a:pPr eaLnBrk="1" hangingPunct="1"/>
              <a:t>16</a:t>
            </a:fld>
            <a:endParaRPr lang="en-US" altLang="zh-CN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幻灯片图像占位符 1">
            <a:extLst>
              <a:ext uri="{FF2B5EF4-FFF2-40B4-BE49-F238E27FC236}">
                <a16:creationId xmlns:a16="http://schemas.microsoft.com/office/drawing/2014/main" id="{1483D6D0-179A-4473-8711-8F787FA1D44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备注占位符 2">
            <a:extLst>
              <a:ext uri="{FF2B5EF4-FFF2-40B4-BE49-F238E27FC236}">
                <a16:creationId xmlns:a16="http://schemas.microsoft.com/office/drawing/2014/main" id="{F75972AB-8770-494C-80CE-2A1969493D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44036" name="灯片编号占位符 3">
            <a:extLst>
              <a:ext uri="{FF2B5EF4-FFF2-40B4-BE49-F238E27FC236}">
                <a16:creationId xmlns:a16="http://schemas.microsoft.com/office/drawing/2014/main" id="{2C4280ED-3B6A-4501-A090-C66FADF38D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06361717-9FC9-4DFF-8EB2-431FA29E25D9}" type="slidenum">
              <a:rPr lang="zh-CN" altLang="en-US" sz="1300">
                <a:solidFill>
                  <a:schemeClr val="tx1"/>
                </a:solidFill>
              </a:rPr>
              <a:pPr eaLnBrk="1" hangingPunct="1"/>
              <a:t>17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>
            <a:extLst>
              <a:ext uri="{FF2B5EF4-FFF2-40B4-BE49-F238E27FC236}">
                <a16:creationId xmlns:a16="http://schemas.microsoft.com/office/drawing/2014/main" id="{C4648DC8-50CA-47C9-A383-1D1DCF30371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>
            <a:extLst>
              <a:ext uri="{FF2B5EF4-FFF2-40B4-BE49-F238E27FC236}">
                <a16:creationId xmlns:a16="http://schemas.microsoft.com/office/drawing/2014/main" id="{1C453AAC-8C40-460E-BA2B-264AEF0C13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5657B78-E038-44C9-8BCD-96B352BBBCD3}"/>
              </a:ext>
            </a:extLst>
          </p:cNvPr>
          <p:cNvSpPr/>
          <p:nvPr userDrawn="1"/>
        </p:nvSpPr>
        <p:spPr>
          <a:xfrm>
            <a:off x="0" y="1857375"/>
            <a:ext cx="9142413" cy="2500313"/>
          </a:xfrm>
          <a:prstGeom prst="rect">
            <a:avLst/>
          </a:prstGeom>
          <a:solidFill>
            <a:srgbClr val="9B9B9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3" name="图片 2" descr="AW视觉符号.jpg">
            <a:extLst>
              <a:ext uri="{FF2B5EF4-FFF2-40B4-BE49-F238E27FC236}">
                <a16:creationId xmlns:a16="http://schemas.microsoft.com/office/drawing/2014/main" id="{332D7815-6414-4F20-8BD4-74A44428AC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24019" y="2628032"/>
            <a:ext cx="3896807" cy="20559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7EEFD22-46D4-43BE-9EB1-B2DFE69319A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Python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与数据挖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755.jhtml</a:t>
            </a:r>
            <a:endParaRPr lang="zh-CN" altLang="en-US" sz="2000" dirty="0">
              <a:solidFill>
                <a:schemeClr val="tx1"/>
              </a:solidFill>
              <a:latin typeface="华文楷体" pitchFamily="2" charset="-122"/>
              <a:ea typeface="华文楷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65404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881334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4C41EE0D-7B1E-4B67-BA54-A35ED3A60C9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C547D07D-72D2-4726-BA56-1D51BCD116D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46036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804734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8051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8051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4817640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4859021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737C15F3-ACD4-4723-AE7A-34C470DAF08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A952422C-6480-4E50-B980-FAA4EF596D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9094178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432403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009162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290372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355938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C0551F43-59CA-4576-8AD4-7EE0CEB0EE1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5D04C5D2-EA97-4E1C-B1CB-FFDADEF5226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66233305-18F9-4355-BC40-B92B714C7D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9563" y="64849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665FDCB0-0648-4C14-B1C3-43375E6E060A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57610FC5-320C-4116-8A0D-ECE82F542374}"/>
              </a:ext>
            </a:extLst>
          </p:cNvPr>
          <p:cNvCxnSpPr/>
          <p:nvPr userDrawn="1"/>
        </p:nvCxnSpPr>
        <p:spPr>
          <a:xfrm>
            <a:off x="2500313" y="6642100"/>
            <a:ext cx="5500687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43B044B4-E534-41D5-ABA5-C7269E5B1F13}"/>
              </a:ext>
            </a:extLst>
          </p:cNvPr>
          <p:cNvCxnSpPr/>
          <p:nvPr userDrawn="1"/>
        </p:nvCxnSpPr>
        <p:spPr>
          <a:xfrm>
            <a:off x="8335963" y="6629400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89987F31-5210-4A20-B713-C50042A74B50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>
            <a:extLst>
              <a:ext uri="{FF2B5EF4-FFF2-40B4-BE49-F238E27FC236}">
                <a16:creationId xmlns:a16="http://schemas.microsoft.com/office/drawing/2014/main" id="{164AB0BA-4A3F-4973-AD75-0D7A07FE26D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082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11" name="图片 13" descr="泰迪logo无底色.png">
            <a:extLst>
              <a:ext uri="{FF2B5EF4-FFF2-40B4-BE49-F238E27FC236}">
                <a16:creationId xmlns:a16="http://schemas.microsoft.com/office/drawing/2014/main" id="{CB9E7302-ADC9-432B-8499-4F80A95DFD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 marL="342900" indent="-342900">
              <a:lnSpc>
                <a:spcPct val="150000"/>
              </a:lnSpc>
              <a:buClr>
                <a:srgbClr val="032089"/>
              </a:buClr>
              <a:buFont typeface="Wingdings" pitchFamily="2" charset="2"/>
              <a:buChar char="l"/>
              <a:defRPr sz="20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5797484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"/>
            <a:ext cx="2057400" cy="19161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"/>
            <a:ext cx="6019800" cy="1916113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4153366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9">
            <a:extLst>
              <a:ext uri="{FF2B5EF4-FFF2-40B4-BE49-F238E27FC236}">
                <a16:creationId xmlns:a16="http://schemas.microsoft.com/office/drawing/2014/main" id="{5D9CB243-CC5F-4278-82A1-3CE2478E8DE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14346" name="AutoShape 29">
                        <a:extLst>
                          <a:ext uri="{FF2B5EF4-FFF2-40B4-BE49-F238E27FC236}">
                            <a16:creationId xmlns:a16="http://schemas.microsoft.com/office/drawing/2014/main" id="{5863CDBF-AD5A-4F99-A716-081E29574E1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27758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AB415A-9109-4896-9F3B-811F8D664A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32326A8C-AB29-4869-B54E-9917AAFD9058}" type="datetimeFigureOut">
              <a:rPr lang="en-US" altLang="zh-CN"/>
              <a:pPr>
                <a:defRPr/>
              </a:pPr>
              <a:t>4/30/2021</a:t>
            </a:fld>
            <a:endParaRPr lang="en-US" altLang="zh-C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3EC628-2949-4DD4-B3F7-8CB2669B6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F3EB79-CCF3-4AC9-8F77-2858DC0AF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CF6BFAB-3EE9-4CAF-8656-F8F4D77CCE5B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3887966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8158F1A1-CF25-4C27-8FF8-3717F1402F2A}"/>
              </a:ext>
            </a:extLst>
          </p:cNvPr>
          <p:cNvSpPr/>
          <p:nvPr userDrawn="1"/>
        </p:nvSpPr>
        <p:spPr>
          <a:xfrm>
            <a:off x="0" y="4437063"/>
            <a:ext cx="9144000" cy="323850"/>
          </a:xfrm>
          <a:prstGeom prst="rect">
            <a:avLst/>
          </a:prstGeom>
          <a:gradFill>
            <a:gsLst>
              <a:gs pos="0">
                <a:srgbClr val="FFFFFF"/>
              </a:gs>
              <a:gs pos="7001">
                <a:srgbClr val="E6E6E6"/>
              </a:gs>
              <a:gs pos="32001">
                <a:srgbClr val="7D8496"/>
              </a:gs>
              <a:gs pos="47000">
                <a:srgbClr val="E6E6E6"/>
              </a:gs>
              <a:gs pos="85001">
                <a:srgbClr val="7D8496"/>
              </a:gs>
              <a:gs pos="100000">
                <a:srgbClr val="E6E6E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1F7EF507-B2AA-42EF-B89E-9D6B22C0FD8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Hadoop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大数据分析与挖掘实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655.jhtml</a:t>
            </a: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</a:t>
            </a: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95289" y="3429000"/>
            <a:ext cx="8353425" cy="1008112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3FED45B1-A7EE-4AD5-86C5-D0B10495DE69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615113" y="65071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98737886-00B7-4355-97B9-FA9908DEF001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5271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08087930"/>
      </p:ext>
    </p:extLst>
  </p:cSld>
  <p:clrMapOvr>
    <a:masterClrMapping/>
  </p:clrMapOvr>
  <p:transition spd="slow" advClick="0" advTm="1000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235786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48132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48132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031BA33-2D4B-480C-91D8-A3F81AFF5A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640C242-A5EA-4844-A0B3-EAEBBFB5DE16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0EC2437-2F9D-433C-B22A-4364A0E55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A978C4-7979-43C1-A18F-7DDD9A189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2D50759-5E18-4D53-AE8D-C52B64C2E043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3988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>
            <a:extLst>
              <a:ext uri="{FF2B5EF4-FFF2-40B4-BE49-F238E27FC236}">
                <a16:creationId xmlns:a16="http://schemas.microsoft.com/office/drawing/2014/main" id="{FF8EE3C9-9215-4D8D-90F8-E1AB271C7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70FAC4-F0C1-404C-824E-CDCB4DA37D7A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4" name="页脚占位符 4">
            <a:extLst>
              <a:ext uri="{FF2B5EF4-FFF2-40B4-BE49-F238E27FC236}">
                <a16:creationId xmlns:a16="http://schemas.microsoft.com/office/drawing/2014/main" id="{A2E88C0A-2FE3-4EFD-946C-992DDF8A0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60152C6A-0F33-49DC-BEE5-384CAC355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A3B164-2123-4DB1-B7B9-01EFAA51508E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1078057"/>
      </p:ext>
    </p:extLst>
  </p:cSld>
  <p:clrMapOvr>
    <a:masterClrMapping/>
  </p:clrMapOvr>
  <p:transition spd="slow" advClick="0" advTm="1000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3242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>
            <a:extLst>
              <a:ext uri="{FF2B5EF4-FFF2-40B4-BE49-F238E27FC236}">
                <a16:creationId xmlns:a16="http://schemas.microsoft.com/office/drawing/2014/main" id="{4090694D-DA5A-47F2-9215-63AA4B8EEC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0B6A2AB1-A816-4FBA-8CEC-54F364B0F348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3" name="页脚占位符 4">
            <a:extLst>
              <a:ext uri="{FF2B5EF4-FFF2-40B4-BE49-F238E27FC236}">
                <a16:creationId xmlns:a16="http://schemas.microsoft.com/office/drawing/2014/main" id="{17D03627-9E38-47DE-881A-99D985800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2B99FE76-B51A-47C8-B898-540FF4986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660A623-576B-4A4C-B55A-14829B172E58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8152692"/>
      </p:ext>
    </p:extLst>
  </p:cSld>
  <p:clrMapOvr>
    <a:masterClrMapping/>
  </p:clrMapOvr>
  <p:transition spd="slow" advClick="0" advTm="1000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>
            <a:extLst>
              <a:ext uri="{FF2B5EF4-FFF2-40B4-BE49-F238E27FC236}">
                <a16:creationId xmlns:a16="http://schemas.microsoft.com/office/drawing/2014/main" id="{EFD163E4-A7DB-4882-B049-4408D33A20D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文本占位符 2">
            <a:extLst>
              <a:ext uri="{FF2B5EF4-FFF2-40B4-BE49-F238E27FC236}">
                <a16:creationId xmlns:a16="http://schemas.microsoft.com/office/drawing/2014/main" id="{75AE0134-4AFA-45EB-8AB7-0175D7E9D4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9E9B5D4-7532-4951-B0FA-38F6C44A46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77E43890-424C-44D3-AE06-A1B0205218B8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0C888F7-1230-44D4-8744-ADF0F2111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D12862-FA15-4501-9660-4EE9901F13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89AF75AF-8945-4B79-9D4E-A4EEAA6B9A59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49" r:id="rId1"/>
    <p:sldLayoutId id="2147485850" r:id="rId2"/>
    <p:sldLayoutId id="2147485851" r:id="rId3"/>
    <p:sldLayoutId id="2147485852" r:id="rId4"/>
    <p:sldLayoutId id="2147485853" r:id="rId5"/>
    <p:sldLayoutId id="2147485854" r:id="rId6"/>
    <p:sldLayoutId id="2147485855" r:id="rId7"/>
    <p:sldLayoutId id="2147485856" r:id="rId8"/>
    <p:sldLayoutId id="2147485857" r:id="rId9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>
            <a:extLst>
              <a:ext uri="{FF2B5EF4-FFF2-40B4-BE49-F238E27FC236}">
                <a16:creationId xmlns:a16="http://schemas.microsoft.com/office/drawing/2014/main" id="{B44F5165-3F6F-4E1C-A4FD-ED6513C62E7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2051" name="文本占位符 2">
            <a:extLst>
              <a:ext uri="{FF2B5EF4-FFF2-40B4-BE49-F238E27FC236}">
                <a16:creationId xmlns:a16="http://schemas.microsoft.com/office/drawing/2014/main" id="{249F1A73-9470-4ED1-9A45-6D93C15730B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908050"/>
            <a:ext cx="8229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</a:t>
            </a:r>
          </a:p>
        </p:txBody>
      </p:sp>
      <p:sp>
        <p:nvSpPr>
          <p:cNvPr id="2052" name="AutoShape 22">
            <a:extLst>
              <a:ext uri="{FF2B5EF4-FFF2-40B4-BE49-F238E27FC236}">
                <a16:creationId xmlns:a16="http://schemas.microsoft.com/office/drawing/2014/main" id="{92CED338-756C-48EC-969E-69B263EB6A6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3" name="AutoShape 23">
            <a:extLst>
              <a:ext uri="{FF2B5EF4-FFF2-40B4-BE49-F238E27FC236}">
                <a16:creationId xmlns:a16="http://schemas.microsoft.com/office/drawing/2014/main" id="{F197F412-A426-4000-AEF2-C2E6E1B5A6C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4" name="Rectangle 12">
            <a:extLst>
              <a:ext uri="{FF2B5EF4-FFF2-40B4-BE49-F238E27FC236}">
                <a16:creationId xmlns:a16="http://schemas.microsoft.com/office/drawing/2014/main" id="{C5B66B63-DE4F-456C-9F84-6070906194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1625" y="64976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6566B793-0CEF-4411-A02E-2F96CC8DE8AE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14">
            <a:extLst>
              <a:ext uri="{FF2B5EF4-FFF2-40B4-BE49-F238E27FC236}">
                <a16:creationId xmlns:a16="http://schemas.microsoft.com/office/drawing/2014/main" id="{D5159936-8D2D-4FD5-BB9D-2FC81A945340}"/>
              </a:ext>
            </a:extLst>
          </p:cNvPr>
          <p:cNvCxnSpPr/>
          <p:nvPr userDrawn="1"/>
        </p:nvCxnSpPr>
        <p:spPr>
          <a:xfrm flipV="1">
            <a:off x="2428875" y="6621463"/>
            <a:ext cx="5472113" cy="222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19">
            <a:extLst>
              <a:ext uri="{FF2B5EF4-FFF2-40B4-BE49-F238E27FC236}">
                <a16:creationId xmlns:a16="http://schemas.microsoft.com/office/drawing/2014/main" id="{6C2AFD41-BB63-4A9B-9C1F-1EB48E19C3BB}"/>
              </a:ext>
            </a:extLst>
          </p:cNvPr>
          <p:cNvCxnSpPr/>
          <p:nvPr userDrawn="1"/>
        </p:nvCxnSpPr>
        <p:spPr>
          <a:xfrm>
            <a:off x="8335963" y="6618288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39F6BEBD-0A0C-46AD-A4E1-1B5E7B564428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8" name="矩形 12">
            <a:extLst>
              <a:ext uri="{FF2B5EF4-FFF2-40B4-BE49-F238E27FC236}">
                <a16:creationId xmlns:a16="http://schemas.microsoft.com/office/drawing/2014/main" id="{A34BFBAB-07BB-4B55-9A06-1F52DB1AE3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082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2059" name="图片 13" descr="泰迪logo无底色.png">
            <a:extLst>
              <a:ext uri="{FF2B5EF4-FFF2-40B4-BE49-F238E27FC236}">
                <a16:creationId xmlns:a16="http://schemas.microsoft.com/office/drawing/2014/main" id="{A53F74C6-30DB-4ED9-B593-55920F36BD6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40" r:id="rId1"/>
    <p:sldLayoutId id="2147485858" r:id="rId2"/>
    <p:sldLayoutId id="2147485841" r:id="rId3"/>
    <p:sldLayoutId id="2147485842" r:id="rId4"/>
    <p:sldLayoutId id="2147485843" r:id="rId5"/>
    <p:sldLayoutId id="2147485859" r:id="rId6"/>
    <p:sldLayoutId id="2147485844" r:id="rId7"/>
    <p:sldLayoutId id="2147485845" r:id="rId8"/>
    <p:sldLayoutId id="2147485846" r:id="rId9"/>
    <p:sldLayoutId id="2147485847" r:id="rId10"/>
    <p:sldLayoutId id="2147485848" r:id="rId11"/>
    <p:sldLayoutId id="2147485860" r:id="rId12"/>
    <p:sldLayoutId id="2147485861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Font typeface="Wingdings" panose="05000000000000000000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png"/><Relationship Id="rId11" Type="http://schemas.openxmlformats.org/officeDocument/2006/relationships/hyperlink" Target="http://www.tipdm.com/pxdt/index.jhtml" TargetMode="External"/><Relationship Id="rId5" Type="http://schemas.openxmlformats.org/officeDocument/2006/relationships/image" Target="../media/image24.png"/><Relationship Id="rId10" Type="http://schemas.openxmlformats.org/officeDocument/2006/relationships/hyperlink" Target="https://edu.tipdm.org/" TargetMode="External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组合 34">
            <a:extLst>
              <a:ext uri="{FF2B5EF4-FFF2-40B4-BE49-F238E27FC236}">
                <a16:creationId xmlns:a16="http://schemas.microsoft.com/office/drawing/2014/main" id="{4FBCEE37-A227-4C26-951F-317AD49E972D}"/>
              </a:ext>
            </a:extLst>
          </p:cNvPr>
          <p:cNvGrpSpPr>
            <a:grpSpLocks/>
          </p:cNvGrpSpPr>
          <p:nvPr/>
        </p:nvGrpSpPr>
        <p:grpSpPr bwMode="auto">
          <a:xfrm>
            <a:off x="6300788" y="333375"/>
            <a:ext cx="1878012" cy="90488"/>
            <a:chOff x="2483768" y="6213195"/>
            <a:chExt cx="1877958" cy="90000"/>
          </a:xfrm>
        </p:grpSpPr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D5968871-1A5C-438D-8622-6CEC837311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3768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833F4AAF-EA97-4675-94C9-449716DBEF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3854" y="6213195"/>
              <a:ext cx="90485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5D6A0166-AD37-4B39-BB37-8F4C0BACFA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71242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387" name="组合 33">
            <a:extLst>
              <a:ext uri="{FF2B5EF4-FFF2-40B4-BE49-F238E27FC236}">
                <a16:creationId xmlns:a16="http://schemas.microsoft.com/office/drawing/2014/main" id="{B280AC59-83FE-4F59-92BB-4DB7D025226E}"/>
              </a:ext>
            </a:extLst>
          </p:cNvPr>
          <p:cNvGrpSpPr>
            <a:grpSpLocks/>
          </p:cNvGrpSpPr>
          <p:nvPr/>
        </p:nvGrpSpPr>
        <p:grpSpPr bwMode="auto">
          <a:xfrm>
            <a:off x="6372225" y="609600"/>
            <a:ext cx="1836738" cy="34925"/>
            <a:chOff x="2555776" y="6488961"/>
            <a:chExt cx="1836200" cy="36000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D6D76B70-A8C4-4E03-9612-1FA878F364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5474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C22DB600-A594-40FD-9B2E-4A1147A35B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5625" y="6488961"/>
              <a:ext cx="36501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AC49F0B9-F97F-4819-A9C7-9B53E27D93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55776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388" name="TextBox 10">
            <a:extLst>
              <a:ext uri="{FF2B5EF4-FFF2-40B4-BE49-F238E27FC236}">
                <a16:creationId xmlns:a16="http://schemas.microsoft.com/office/drawing/2014/main" id="{E2E9EBBB-95C8-4AF4-8E16-D28BB58E2E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1938" y="2873375"/>
            <a:ext cx="5072062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</a:t>
            </a:r>
            <a:r>
              <a:rPr lang="en-US" altLang="zh-CN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8</a:t>
            </a: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章 聚类分析</a:t>
            </a:r>
            <a:endParaRPr lang="en-US" altLang="zh-CN" sz="2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fld id="{F2B93828-9F10-4B3A-AE28-E0A4F9461FE0}" type="datetime1">
              <a:rPr lang="zh-CN" altLang="en-US"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pPr algn="ctr" eaLnBrk="1" hangingPunct="1">
                <a:lnSpc>
                  <a:spcPts val="3200"/>
                </a:lnSpc>
                <a:spcBef>
                  <a:spcPts val="600"/>
                </a:spcBef>
              </a:pPr>
              <a:t>2021/4/30</a:t>
            </a:fld>
            <a:endParaRPr lang="zh-CN" altLang="en-US" sz="24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标题 1">
            <a:extLst>
              <a:ext uri="{FF2B5EF4-FFF2-40B4-BE49-F238E27FC236}">
                <a16:creationId xmlns:a16="http://schemas.microsoft.com/office/drawing/2014/main" id="{2834C27C-149C-4159-B264-7A4D399B4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系统聚类原理</a:t>
            </a:r>
          </a:p>
        </p:txBody>
      </p:sp>
      <p:sp>
        <p:nvSpPr>
          <p:cNvPr id="25603" name="内容占位符 2">
            <a:extLst>
              <a:ext uri="{FF2B5EF4-FFF2-40B4-BE49-F238E27FC236}">
                <a16:creationId xmlns:a16="http://schemas.microsoft.com/office/drawing/2014/main" id="{CADDD11D-17D5-4BD3-8CBA-1F74E5D16C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75663" cy="1285875"/>
          </a:xfrm>
        </p:spPr>
        <p:txBody>
          <a:bodyPr/>
          <a:lstStyle/>
          <a:p>
            <a:r>
              <a:rPr lang="zh-CN" altLang="zh-CN"/>
              <a:t>系统聚类的的基本思想是先将样本看作各自一类，定义类间距离的计算方法，选择距离最小的一对类合并成为一个新的类。接着重新计算类间的距离，再将距离最近的两类合并，如此最终便最终合成一类。</a:t>
            </a:r>
            <a:endParaRPr lang="zh-CN" altLang="en-US"/>
          </a:p>
        </p:txBody>
      </p:sp>
      <p:pic>
        <p:nvPicPr>
          <p:cNvPr id="25604" name="图片 83">
            <a:extLst>
              <a:ext uri="{FF2B5EF4-FFF2-40B4-BE49-F238E27FC236}">
                <a16:creationId xmlns:a16="http://schemas.microsoft.com/office/drawing/2014/main" id="{18829B74-9655-437C-A2E0-63FEF1734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2565400"/>
            <a:ext cx="3135312" cy="316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5" name="图片 86">
            <a:extLst>
              <a:ext uri="{FF2B5EF4-FFF2-40B4-BE49-F238E27FC236}">
                <a16:creationId xmlns:a16="http://schemas.microsoft.com/office/drawing/2014/main" id="{BB09E8E1-7810-4DD2-B4F5-93C10DABEF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463" y="2584450"/>
            <a:ext cx="3743325" cy="314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右箭头 3">
            <a:extLst>
              <a:ext uri="{FF2B5EF4-FFF2-40B4-BE49-F238E27FC236}">
                <a16:creationId xmlns:a16="http://schemas.microsoft.com/office/drawing/2014/main" id="{BAEC422E-D184-4566-B838-D237B62B2663}"/>
              </a:ext>
            </a:extLst>
          </p:cNvPr>
          <p:cNvSpPr/>
          <p:nvPr/>
        </p:nvSpPr>
        <p:spPr>
          <a:xfrm>
            <a:off x="3814763" y="3917950"/>
            <a:ext cx="935037" cy="36036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标题 1">
            <a:extLst>
              <a:ext uri="{FF2B5EF4-FFF2-40B4-BE49-F238E27FC236}">
                <a16:creationId xmlns:a16="http://schemas.microsoft.com/office/drawing/2014/main" id="{465A4236-AC5E-4CD3-92F7-A4780DB90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系统聚类</a:t>
            </a:r>
          </a:p>
        </p:txBody>
      </p:sp>
      <p:sp>
        <p:nvSpPr>
          <p:cNvPr id="26627" name="内容占位符 2">
            <a:extLst>
              <a:ext uri="{FF2B5EF4-FFF2-40B4-BE49-F238E27FC236}">
                <a16:creationId xmlns:a16="http://schemas.microsoft.com/office/drawing/2014/main" id="{DDBB5189-695E-4F18-9274-94CC0B8DCC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4383088"/>
          </a:xfrm>
        </p:spPr>
        <p:txBody>
          <a:bodyPr/>
          <a:lstStyle/>
          <a:p>
            <a:r>
              <a:rPr lang="zh-CN" altLang="en-US"/>
              <a:t>由上图</a:t>
            </a:r>
            <a:r>
              <a:rPr lang="zh-CN" altLang="zh-CN"/>
              <a:t>给出了一个系统聚类的例子。</a:t>
            </a:r>
            <a:endParaRPr lang="en-US" altLang="zh-CN"/>
          </a:p>
          <a:p>
            <a:r>
              <a:rPr lang="zh-CN" altLang="zh-CN"/>
              <a:t>首先定义样本间距离的计算方法，计算各个样本点间的距离。先将距离最近的</a:t>
            </a:r>
            <a:r>
              <a:rPr lang="en-US" altLang="zh-CN"/>
              <a:t>b</a:t>
            </a:r>
            <a:r>
              <a:rPr lang="zh-CN" altLang="zh-CN"/>
              <a:t>与</a:t>
            </a:r>
            <a:r>
              <a:rPr lang="en-US" altLang="zh-CN"/>
              <a:t>c</a:t>
            </a:r>
            <a:r>
              <a:rPr lang="zh-CN" altLang="zh-CN"/>
              <a:t>合并，此时</a:t>
            </a:r>
            <a:r>
              <a:rPr lang="zh-CN" altLang="en-US"/>
              <a:t>有</a:t>
            </a:r>
            <a:r>
              <a:rPr lang="en-US" altLang="zh-CN"/>
              <a:t>5</a:t>
            </a:r>
            <a:r>
              <a:rPr lang="zh-CN" altLang="zh-CN"/>
              <a:t>个类：</a:t>
            </a:r>
            <a:r>
              <a:rPr lang="en-US" altLang="zh-CN"/>
              <a:t> {a},{b,c} ,{d} ,{e} </a:t>
            </a:r>
            <a:r>
              <a:rPr lang="zh-CN" altLang="zh-CN"/>
              <a:t>和</a:t>
            </a:r>
            <a:r>
              <a:rPr lang="en-US" altLang="zh-CN"/>
              <a:t>{f} </a:t>
            </a:r>
            <a:r>
              <a:rPr lang="zh-CN" altLang="zh-CN"/>
              <a:t>。</a:t>
            </a:r>
            <a:endParaRPr lang="en-US" altLang="zh-CN"/>
          </a:p>
          <a:p>
            <a:r>
              <a:rPr lang="zh-CN" altLang="en-US"/>
              <a:t>为了</a:t>
            </a:r>
            <a:r>
              <a:rPr lang="zh-CN" altLang="zh-CN"/>
              <a:t>进一步的合并，所以需要计算类</a:t>
            </a:r>
            <a:r>
              <a:rPr lang="en-US" altLang="zh-CN"/>
              <a:t> {a}</a:t>
            </a:r>
            <a:r>
              <a:rPr lang="zh-CN" altLang="zh-CN"/>
              <a:t>与</a:t>
            </a:r>
            <a:r>
              <a:rPr lang="en-US" altLang="zh-CN"/>
              <a:t>}{b,c} </a:t>
            </a:r>
            <a:r>
              <a:rPr lang="zh-CN" altLang="zh-CN"/>
              <a:t>间的距离。</a:t>
            </a:r>
            <a:endParaRPr lang="en-US" altLang="zh-CN"/>
          </a:p>
          <a:p>
            <a:r>
              <a:rPr lang="zh-CN" altLang="zh-CN"/>
              <a:t>因此还需要定义类间距离的计算方法。按照合并距离最小的两个类的规则，我们按顺序合并</a:t>
            </a:r>
            <a:r>
              <a:rPr lang="en-US" altLang="zh-CN"/>
              <a:t> {d}</a:t>
            </a:r>
            <a:r>
              <a:rPr lang="zh-CN" altLang="zh-CN"/>
              <a:t>与</a:t>
            </a:r>
            <a:r>
              <a:rPr lang="en-US" altLang="zh-CN"/>
              <a:t> {e} </a:t>
            </a:r>
            <a:r>
              <a:rPr lang="zh-CN" altLang="zh-CN"/>
              <a:t>，</a:t>
            </a:r>
            <a:r>
              <a:rPr lang="en-US" altLang="zh-CN"/>
              <a:t>{d,e} </a:t>
            </a:r>
            <a:r>
              <a:rPr lang="zh-CN" altLang="zh-CN"/>
              <a:t>与</a:t>
            </a:r>
            <a:r>
              <a:rPr lang="en-US" altLang="zh-CN"/>
              <a:t> {f}</a:t>
            </a:r>
            <a:r>
              <a:rPr lang="zh-CN" altLang="zh-CN"/>
              <a:t>，</a:t>
            </a:r>
            <a:r>
              <a:rPr lang="en-US" altLang="zh-CN"/>
              <a:t> {b,c}</a:t>
            </a:r>
            <a:r>
              <a:rPr lang="zh-CN" altLang="zh-CN"/>
              <a:t>与</a:t>
            </a:r>
            <a:r>
              <a:rPr lang="en-US" altLang="zh-CN"/>
              <a:t>{d,e,f} </a:t>
            </a:r>
            <a:r>
              <a:rPr lang="zh-CN" altLang="zh-CN"/>
              <a:t>，</a:t>
            </a:r>
            <a:r>
              <a:rPr lang="en-US" altLang="zh-CN"/>
              <a:t>{a} </a:t>
            </a:r>
            <a:r>
              <a:rPr lang="zh-CN" altLang="zh-CN"/>
              <a:t>与</a:t>
            </a:r>
            <a:r>
              <a:rPr lang="en-US" altLang="zh-CN"/>
              <a:t>{b,c,d,e,f} </a:t>
            </a:r>
            <a:r>
              <a:rPr lang="zh-CN" altLang="zh-CN"/>
              <a:t>。</a:t>
            </a:r>
            <a:endParaRPr lang="en-US" altLang="zh-CN"/>
          </a:p>
          <a:p>
            <a:r>
              <a:rPr lang="zh-CN" altLang="zh-CN"/>
              <a:t>最终我们通过类的合并得出</a:t>
            </a:r>
            <a:r>
              <a:rPr lang="zh-CN" altLang="en-US"/>
              <a:t>上</a:t>
            </a:r>
            <a:r>
              <a:rPr lang="zh-CN" altLang="zh-CN"/>
              <a:t>图的结果。整个过程如同生成树的过程，树的层次结构分明。</a:t>
            </a:r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标题 1">
            <a:extLst>
              <a:ext uri="{FF2B5EF4-FFF2-40B4-BE49-F238E27FC236}">
                <a16:creationId xmlns:a16="http://schemas.microsoft.com/office/drawing/2014/main" id="{3F03EC72-1451-488D-B1FD-373789B8C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系统聚类</a:t>
            </a:r>
          </a:p>
        </p:txBody>
      </p:sp>
      <p:sp>
        <p:nvSpPr>
          <p:cNvPr id="27651" name="内容占位符 2">
            <a:extLst>
              <a:ext uri="{FF2B5EF4-FFF2-40B4-BE49-F238E27FC236}">
                <a16:creationId xmlns:a16="http://schemas.microsoft.com/office/drawing/2014/main" id="{1BE8F98A-4255-473E-BB72-ED47996782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6063" y="760413"/>
            <a:ext cx="8208962" cy="565150"/>
          </a:xfrm>
        </p:spPr>
        <p:txBody>
          <a:bodyPr/>
          <a:lstStyle/>
          <a:p>
            <a:r>
              <a:rPr lang="zh-CN" altLang="en-US"/>
              <a:t>下</a:t>
            </a:r>
            <a:r>
              <a:rPr lang="zh-CN" altLang="zh-CN"/>
              <a:t>表给出了样本间距离的常用定义</a:t>
            </a:r>
            <a:r>
              <a:rPr lang="zh-CN" altLang="en-US"/>
              <a:t>：</a:t>
            </a:r>
          </a:p>
        </p:txBody>
      </p:sp>
      <p:pic>
        <p:nvPicPr>
          <p:cNvPr id="27652" name="Picture 6">
            <a:extLst>
              <a:ext uri="{FF2B5EF4-FFF2-40B4-BE49-F238E27FC236}">
                <a16:creationId xmlns:a16="http://schemas.microsoft.com/office/drawing/2014/main" id="{3E4C6FA8-A9DD-4DC8-8C05-E406862C91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94"/>
          <a:stretch>
            <a:fillRect/>
          </a:stretch>
        </p:blipFill>
        <p:spPr bwMode="auto">
          <a:xfrm>
            <a:off x="755650" y="1470025"/>
            <a:ext cx="7045325" cy="3687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标题 1">
            <a:extLst>
              <a:ext uri="{FF2B5EF4-FFF2-40B4-BE49-F238E27FC236}">
                <a16:creationId xmlns:a16="http://schemas.microsoft.com/office/drawing/2014/main" id="{5267D49E-282C-49B6-992F-A7922612F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系统聚类</a:t>
            </a:r>
          </a:p>
        </p:txBody>
      </p:sp>
      <p:pic>
        <p:nvPicPr>
          <p:cNvPr id="28675" name="Picture 7">
            <a:extLst>
              <a:ext uri="{FF2B5EF4-FFF2-40B4-BE49-F238E27FC236}">
                <a16:creationId xmlns:a16="http://schemas.microsoft.com/office/drawing/2014/main" id="{ABC19202-6706-4B6F-B5C1-88C9335F8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18"/>
          <a:stretch>
            <a:fillRect/>
          </a:stretch>
        </p:blipFill>
        <p:spPr bwMode="auto">
          <a:xfrm>
            <a:off x="684213" y="1341438"/>
            <a:ext cx="7207250" cy="4992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676" name="内容占位符 2">
            <a:extLst>
              <a:ext uri="{FF2B5EF4-FFF2-40B4-BE49-F238E27FC236}">
                <a16:creationId xmlns:a16="http://schemas.microsoft.com/office/drawing/2014/main" id="{E08B4BF3-8053-474F-A1B0-15CB84CA5AF5}"/>
              </a:ext>
            </a:extLst>
          </p:cNvPr>
          <p:cNvSpPr txBox="1">
            <a:spLocks/>
          </p:cNvSpPr>
          <p:nvPr/>
        </p:nvSpPr>
        <p:spPr bwMode="auto">
          <a:xfrm>
            <a:off x="238125" y="765175"/>
            <a:ext cx="8294688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32089"/>
              </a:buClr>
              <a:buFont typeface="Wingdings" panose="05000000000000000000" pitchFamily="2" charset="2"/>
              <a:buChar char="l"/>
            </a:pPr>
            <a:r>
              <a: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</a:t>
            </a:r>
            <a:r>
              <a:rPr lang="zh-CN" altLang="zh-CN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给出了类间距离的常用定义</a:t>
            </a:r>
            <a:r>
              <a: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>
            <a:extLst>
              <a:ext uri="{FF2B5EF4-FFF2-40B4-BE49-F238E27FC236}">
                <a16:creationId xmlns:a16="http://schemas.microsoft.com/office/drawing/2014/main" id="{B588A8E9-0C73-47D3-9D18-F6DB9682B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系统聚类步骤</a:t>
            </a:r>
          </a:p>
        </p:txBody>
      </p:sp>
      <p:sp>
        <p:nvSpPr>
          <p:cNvPr id="29699" name="内容占位符 2">
            <a:extLst>
              <a:ext uri="{FF2B5EF4-FFF2-40B4-BE49-F238E27FC236}">
                <a16:creationId xmlns:a16="http://schemas.microsoft.com/office/drawing/2014/main" id="{644D7ABD-F614-4735-A906-F975AE82B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65175"/>
            <a:ext cx="8713788" cy="863600"/>
          </a:xfrm>
        </p:spPr>
        <p:txBody>
          <a:bodyPr/>
          <a:lstStyle/>
          <a:p>
            <a:r>
              <a:rPr lang="zh-CN" altLang="zh-CN"/>
              <a:t>考虑使用系统聚类算法将数据集</a:t>
            </a:r>
            <a:r>
              <a:rPr lang="en-US" altLang="zh-CN"/>
              <a:t> N</a:t>
            </a:r>
            <a:r>
              <a:rPr lang="zh-CN" altLang="zh-CN"/>
              <a:t>中的</a:t>
            </a:r>
            <a:r>
              <a:rPr lang="en-US" altLang="zh-CN"/>
              <a:t>n </a:t>
            </a:r>
            <a:r>
              <a:rPr lang="zh-CN" altLang="zh-CN"/>
              <a:t>个样本划分成</a:t>
            </a:r>
            <a:r>
              <a:rPr lang="en-US" altLang="zh-CN"/>
              <a:t> k</a:t>
            </a:r>
            <a:r>
              <a:rPr lang="zh-CN" altLang="zh-CN"/>
              <a:t>个不相交的类。</a:t>
            </a:r>
          </a:p>
          <a:p>
            <a:r>
              <a:rPr lang="zh-CN" altLang="zh-CN"/>
              <a:t>系统聚类算法步骤如下：</a:t>
            </a:r>
            <a:endParaRPr lang="zh-CN" altLang="en-US"/>
          </a:p>
        </p:txBody>
      </p:sp>
      <p:graphicFrame>
        <p:nvGraphicFramePr>
          <p:cNvPr id="4" name="图示 3">
            <a:extLst>
              <a:ext uri="{FF2B5EF4-FFF2-40B4-BE49-F238E27FC236}">
                <a16:creationId xmlns:a16="http://schemas.microsoft.com/office/drawing/2014/main" id="{29DD0A36-6A4B-44D2-B7DB-E39C7EBC32B6}"/>
              </a:ext>
            </a:extLst>
          </p:cNvPr>
          <p:cNvGraphicFramePr/>
          <p:nvPr/>
        </p:nvGraphicFramePr>
        <p:xfrm>
          <a:off x="1043608" y="1988840"/>
          <a:ext cx="6984776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>
            <a:extLst>
              <a:ext uri="{FF2B5EF4-FFF2-40B4-BE49-F238E27FC236}">
                <a16:creationId xmlns:a16="http://schemas.microsoft.com/office/drawing/2014/main" id="{7C4403A2-CE28-44A3-AF4A-6A0C3344B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系统聚类</a:t>
            </a:r>
          </a:p>
        </p:txBody>
      </p:sp>
      <p:sp>
        <p:nvSpPr>
          <p:cNvPr id="30723" name="内容占位符 2">
            <a:extLst>
              <a:ext uri="{FF2B5EF4-FFF2-40B4-BE49-F238E27FC236}">
                <a16:creationId xmlns:a16="http://schemas.microsoft.com/office/drawing/2014/main" id="{2C415E43-14DC-4247-A3F8-3A8EFE1E8B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92150"/>
            <a:ext cx="8642350" cy="1223963"/>
          </a:xfrm>
        </p:spPr>
        <p:txBody>
          <a:bodyPr/>
          <a:lstStyle/>
          <a:p>
            <a:r>
              <a:rPr lang="zh-CN" altLang="zh-CN"/>
              <a:t>通过相同的数据，我们使用系统聚类与</a:t>
            </a:r>
            <a:r>
              <a:rPr lang="en-US" altLang="zh-CN"/>
              <a:t>K-Means</a:t>
            </a:r>
            <a:r>
              <a:rPr lang="zh-CN" altLang="zh-CN"/>
              <a:t>算法效果作对比。一般而言，系统聚类使用欧几里德距离（</a:t>
            </a:r>
            <a:r>
              <a:rPr lang="en-US" altLang="zh-CN"/>
              <a:t>affinity=‘euclidean’</a:t>
            </a:r>
            <a:r>
              <a:rPr lang="zh-CN" altLang="zh-CN"/>
              <a:t>）和离差平方和法</a:t>
            </a:r>
            <a:r>
              <a:rPr lang="en-US" altLang="zh-CN"/>
              <a:t>(linkage=‘ward’)</a:t>
            </a:r>
            <a:r>
              <a:rPr lang="zh-CN" altLang="zh-CN"/>
              <a:t>效果最好。代码</a:t>
            </a:r>
            <a:r>
              <a:rPr lang="zh-CN" altLang="en-US"/>
              <a:t>如下：</a:t>
            </a:r>
          </a:p>
        </p:txBody>
      </p:sp>
      <p:sp>
        <p:nvSpPr>
          <p:cNvPr id="30724" name="TextBox 3">
            <a:extLst>
              <a:ext uri="{FF2B5EF4-FFF2-40B4-BE49-F238E27FC236}">
                <a16:creationId xmlns:a16="http://schemas.microsoft.com/office/drawing/2014/main" id="{036B0690-098A-4F15-A89A-956B46A84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188" y="2133600"/>
            <a:ext cx="8208962" cy="440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# 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聚类数量不正确时的效果</a:t>
            </a: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y_pred = AgglomerativeClustering(affinity='euclidean',linkage='ward',n_clusters=2).fit_predict(X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# 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选取欧几里德距离和离差平均和法</a:t>
            </a: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subplot(221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[y_pred==0][:, 0], X[y_pred==0][:, 1], marker='x',color='b'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[y_pred==1][:, 0], X[y_pred==1][:, 1], marker='+',color='r'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title("Incorrect Number of Blobs"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# 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类间的方差存在差异的效果</a:t>
            </a: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_varied, y_varied = make_blobs(n_samples=n_samples,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cluster_std=[1.0, 2.5, 0.5],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random_state=random_state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y_pred= AgglomerativeClustering(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affinity='euclidean',linkage='ward',n_clusters=3).fit_predict(X_varied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subplot(223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_varied[y_pred==0][:, 0], X_varied[y_pred==0][:, 1], marker='x',color='b'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_varied[y_pred==1][:, 0], X_varied[y_pred==1][:, 1], marker='+',color='r'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_varied[y_pred==2][:, 0], X_varied[y_pred==2][:, 1], marker='1',color='m'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plt.title("Unequal Variance")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标题 1">
            <a:extLst>
              <a:ext uri="{FF2B5EF4-FFF2-40B4-BE49-F238E27FC236}">
                <a16:creationId xmlns:a16="http://schemas.microsoft.com/office/drawing/2014/main" id="{E677EF16-F6F7-4DB5-ACCA-9574042D8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系统聚类</a:t>
            </a:r>
          </a:p>
        </p:txBody>
      </p:sp>
      <p:sp>
        <p:nvSpPr>
          <p:cNvPr id="31747" name="内容占位符 2">
            <a:extLst>
              <a:ext uri="{FF2B5EF4-FFF2-40B4-BE49-F238E27FC236}">
                <a16:creationId xmlns:a16="http://schemas.microsoft.com/office/drawing/2014/main" id="{F58D047F-CA3D-4C1E-A065-AC5D281685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2293938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zh-CN" altLang="zh-CN"/>
              <a:t>从实验结果分析，系统聚类的结果比</a:t>
            </a:r>
            <a:r>
              <a:rPr lang="en-US" altLang="zh-CN"/>
              <a:t>K-Means</a:t>
            </a:r>
            <a:r>
              <a:rPr lang="zh-CN" altLang="zh-CN"/>
              <a:t>的聚类效果要好，在这两个实验尤为明显。</a:t>
            </a:r>
            <a:endParaRPr lang="en-US" altLang="zh-CN"/>
          </a:p>
          <a:p>
            <a:pPr>
              <a:lnSpc>
                <a:spcPts val="3000"/>
              </a:lnSpc>
            </a:pPr>
            <a:r>
              <a:rPr lang="zh-CN" altLang="zh-CN"/>
              <a:t>从算法上分析</a:t>
            </a:r>
            <a:r>
              <a:rPr lang="en-US" altLang="zh-CN"/>
              <a:t>,K-Means</a:t>
            </a:r>
            <a:r>
              <a:rPr lang="zh-CN" altLang="zh-CN"/>
              <a:t>需要随机选择类的初始中心，给算法带来一定的不稳定性，比起</a:t>
            </a:r>
            <a:r>
              <a:rPr lang="en-US" altLang="zh-CN"/>
              <a:t>K-Means</a:t>
            </a:r>
            <a:r>
              <a:rPr lang="zh-CN" altLang="zh-CN"/>
              <a:t>的迭代算法，系统聚类算法更为严谨，每一步合并都是贪心的。</a:t>
            </a:r>
            <a:endParaRPr lang="zh-CN" altLang="en-US"/>
          </a:p>
        </p:txBody>
      </p:sp>
      <p:pic>
        <p:nvPicPr>
          <p:cNvPr id="31748" name="图片 54">
            <a:extLst>
              <a:ext uri="{FF2B5EF4-FFF2-40B4-BE49-F238E27FC236}">
                <a16:creationId xmlns:a16="http://schemas.microsoft.com/office/drawing/2014/main" id="{424B938D-46F3-40D9-AB05-5182C4DE01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2852738"/>
            <a:ext cx="7920037" cy="353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64788315-734B-4F46-A0FA-D6E5CB1BF7A2}"/>
              </a:ext>
            </a:extLst>
          </p:cNvPr>
          <p:cNvCxnSpPr/>
          <p:nvPr/>
        </p:nvCxnSpPr>
        <p:spPr>
          <a:xfrm>
            <a:off x="2143125" y="1268413"/>
            <a:ext cx="0" cy="3889375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3E2B34E0-27DA-4EB5-8F66-9F648CF82BBC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982788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D9060AB-EA5A-4095-A570-9A439EA5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700213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4D1173E-7B29-4D65-92E4-41B5D00FC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70021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K-Means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聚类分析</a:t>
            </a: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2617E27-CCD6-44D9-B4F4-1418B7346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781300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系统聚类分析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E4E3A2F-095E-4A0C-B51C-4D12BC3768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7375" y="27813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32776" name="标题 13">
            <a:extLst>
              <a:ext uri="{FF2B5EF4-FFF2-40B4-BE49-F238E27FC236}">
                <a16:creationId xmlns:a16="http://schemas.microsoft.com/office/drawing/2014/main" id="{133F0A94-F064-4B3C-8D3D-DB90E691F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5" y="153988"/>
            <a:ext cx="8316913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96007CA6-8531-4854-8A0F-0775B73708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860849"/>
            <a:ext cx="4602162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DBSCAN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聚类分析</a:t>
            </a: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FD7AF72-8D73-44C4-841D-A40087FBD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3860849"/>
            <a:ext cx="623888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标题 1">
            <a:extLst>
              <a:ext uri="{FF2B5EF4-FFF2-40B4-BE49-F238E27FC236}">
                <a16:creationId xmlns:a16="http://schemas.microsoft.com/office/drawing/2014/main" id="{570DBAFB-FBB5-4ED7-B277-30361DD83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en-US" altLang="zh-CN"/>
              <a:t>DBSCAN</a:t>
            </a:r>
            <a:r>
              <a:rPr lang="zh-CN" altLang="en-US"/>
              <a:t>聚类</a:t>
            </a:r>
          </a:p>
        </p:txBody>
      </p:sp>
      <p:sp>
        <p:nvSpPr>
          <p:cNvPr id="33795" name="内容占位符 2">
            <a:extLst>
              <a:ext uri="{FF2B5EF4-FFF2-40B4-BE49-F238E27FC236}">
                <a16:creationId xmlns:a16="http://schemas.microsoft.com/office/drawing/2014/main" id="{336C0220-871B-4D2F-B5B1-B480A5676F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1933575"/>
          </a:xfrm>
        </p:spPr>
        <p:txBody>
          <a:bodyPr/>
          <a:lstStyle/>
          <a:p>
            <a:r>
              <a:rPr lang="en-US" altLang="zh-CN"/>
              <a:t>DBSCAN(Density-Based Spatial Clustering of Applications with Noise)</a:t>
            </a:r>
            <a:r>
              <a:rPr lang="zh-CN" altLang="zh-CN"/>
              <a:t>是一个有代表性的密度聚类算法。它将类定义为密度相连的点的最大集合，通过在样本空间中不断寻找最大集合从而完成聚类。该算法在带噪声的样本空间中发现任意形状的聚类并排除噪声。</a:t>
            </a:r>
            <a:endParaRPr lang="en-US" altLang="zh-CN"/>
          </a:p>
          <a:p>
            <a:r>
              <a:rPr lang="zh-CN" altLang="zh-CN"/>
              <a:t>首先我们将列出</a:t>
            </a:r>
            <a:r>
              <a:rPr lang="en-US" altLang="zh-CN"/>
              <a:t>DBSCAN</a:t>
            </a:r>
            <a:r>
              <a:rPr lang="zh-CN" altLang="zh-CN"/>
              <a:t>算法涉及的基本定义：</a:t>
            </a:r>
            <a:endParaRPr lang="zh-CN" altLang="en-US"/>
          </a:p>
        </p:txBody>
      </p:sp>
      <p:pic>
        <p:nvPicPr>
          <p:cNvPr id="33796" name="Picture 28">
            <a:extLst>
              <a:ext uri="{FF2B5EF4-FFF2-40B4-BE49-F238E27FC236}">
                <a16:creationId xmlns:a16="http://schemas.microsoft.com/office/drawing/2014/main" id="{B022DE3A-DEFC-4E4A-BBC4-C25350D8E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60"/>
          <a:stretch>
            <a:fillRect/>
          </a:stretch>
        </p:blipFill>
        <p:spPr bwMode="auto">
          <a:xfrm>
            <a:off x="684213" y="3213100"/>
            <a:ext cx="7848600" cy="324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标题 1">
            <a:extLst>
              <a:ext uri="{FF2B5EF4-FFF2-40B4-BE49-F238E27FC236}">
                <a16:creationId xmlns:a16="http://schemas.microsoft.com/office/drawing/2014/main" id="{DE3BEFA0-6F8A-4219-A088-3C9353B6D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en-US" altLang="zh-CN"/>
              <a:t>DBSCAN</a:t>
            </a:r>
            <a:r>
              <a:rPr lang="zh-CN" altLang="en-US"/>
              <a:t>聚类步骤</a:t>
            </a:r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515578B0-3D96-4B3D-9376-7756965C89A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95288" y="1134740"/>
          <a:ext cx="8497192" cy="48145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74536F0B-EA8C-41E5-AF9E-4C9E7ACAFAC8}"/>
              </a:ext>
            </a:extLst>
          </p:cNvPr>
          <p:cNvCxnSpPr/>
          <p:nvPr/>
        </p:nvCxnSpPr>
        <p:spPr>
          <a:xfrm>
            <a:off x="2143125" y="1268413"/>
            <a:ext cx="0" cy="3889375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E75F6B68-E211-42FE-9794-61E787873D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982788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9C19427-5107-4BCC-BD8B-FFCB598B4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90" y="1700852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FDF27D7-C4F2-4D14-9622-C9CBFFCB16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2" y="1700852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K-Means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聚类分析</a:t>
            </a:r>
            <a:endParaRPr lang="zh-CN" altLang="en-US" sz="1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4F2615B-EA74-4C54-BAFD-0BF8B5889C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781300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系统聚类分析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D059846-895F-4722-8B84-C2F4B99129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7375" y="27813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17420" name="标题 13">
            <a:extLst>
              <a:ext uri="{FF2B5EF4-FFF2-40B4-BE49-F238E27FC236}">
                <a16:creationId xmlns:a16="http://schemas.microsoft.com/office/drawing/2014/main" id="{B4B4D1F1-2AFD-45A9-A529-53F7BE494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619E6EF-D933-4B95-AD06-BC8F00DF05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8608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DBSCAN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聚类分析</a:t>
            </a: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DCA1522-E148-45B8-B526-2D395C3A0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38608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标题 1">
            <a:extLst>
              <a:ext uri="{FF2B5EF4-FFF2-40B4-BE49-F238E27FC236}">
                <a16:creationId xmlns:a16="http://schemas.microsoft.com/office/drawing/2014/main" id="{BC4DB5A9-37FE-4BD2-8EC0-93A4D8002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en-US" altLang="zh-CN"/>
              <a:t>DBSCAN</a:t>
            </a:r>
            <a:r>
              <a:rPr lang="zh-CN" altLang="en-US"/>
              <a:t>聚类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CF70420-CEDE-4D74-A88C-AF1D4DB4A8E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idx="1"/>
          </p:nvPr>
        </p:nvSpPr>
        <p:spPr>
          <a:xfrm>
            <a:off x="251521" y="775245"/>
            <a:ext cx="8568952" cy="2581747"/>
          </a:xfrm>
          <a:blipFill rotWithShape="1">
            <a:blip r:embed="rId2"/>
            <a:stretch>
              <a:fillRect l="-569" r="-427"/>
            </a:stretch>
          </a:blipFill>
        </p:spPr>
        <p:txBody>
          <a:bodyPr/>
          <a:lstStyle/>
          <a:p>
            <a:r>
              <a:rPr lang="zh-CN" altLang="en-US">
                <a:noFill/>
              </a:rPr>
              <a:t> 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标题 1">
            <a:extLst>
              <a:ext uri="{FF2B5EF4-FFF2-40B4-BE49-F238E27FC236}">
                <a16:creationId xmlns:a16="http://schemas.microsoft.com/office/drawing/2014/main" id="{BA62E559-B673-4BB2-A377-E2A30068F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en-US" altLang="zh-CN"/>
              <a:t>DBSCAN</a:t>
            </a:r>
            <a:r>
              <a:rPr lang="zh-CN" altLang="en-US"/>
              <a:t>聚类</a:t>
            </a:r>
          </a:p>
        </p:txBody>
      </p:sp>
      <p:sp>
        <p:nvSpPr>
          <p:cNvPr id="36867" name="内容占位符 2">
            <a:extLst>
              <a:ext uri="{FF2B5EF4-FFF2-40B4-BE49-F238E27FC236}">
                <a16:creationId xmlns:a16="http://schemas.microsoft.com/office/drawing/2014/main" id="{A01D3371-2E5C-4F28-8573-41811C8D4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3086100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zh-CN" altLang="zh-CN"/>
              <a:t>分析</a:t>
            </a:r>
            <a:r>
              <a:rPr lang="zh-CN" altLang="en-US"/>
              <a:t>下</a:t>
            </a:r>
            <a:r>
              <a:rPr lang="zh-CN" altLang="zh-CN"/>
              <a:t>图 ，</a:t>
            </a:r>
            <a:r>
              <a:rPr lang="en-US" altLang="zh-CN"/>
              <a:t>DBSCAN</a:t>
            </a:r>
            <a:r>
              <a:rPr lang="zh-CN" altLang="zh-CN"/>
              <a:t>算法能够很好地去除噪音，聚类效果也比较理想。图中较大的样本点是核心对象，较小的样本点是非核心对象，以非核心对象为界的思想能够较好地划分类。</a:t>
            </a:r>
            <a:endParaRPr lang="en-US" altLang="zh-CN"/>
          </a:p>
          <a:p>
            <a:pPr>
              <a:lnSpc>
                <a:spcPts val="3000"/>
              </a:lnSpc>
            </a:pPr>
            <a:r>
              <a:rPr lang="zh-CN" altLang="zh-CN"/>
              <a:t>借助</a:t>
            </a:r>
            <a:r>
              <a:rPr lang="en-US" altLang="zh-CN"/>
              <a:t>scikit-learn</a:t>
            </a:r>
            <a:r>
              <a:rPr lang="zh-CN" altLang="zh-CN"/>
              <a:t>模块我们能够轻松使用各自聚类算法，但我们必须了解算法背后的原理，知道如何调节算法的参数，这样才会取得好的聚类效果。</a:t>
            </a:r>
          </a:p>
          <a:p>
            <a:pPr>
              <a:lnSpc>
                <a:spcPts val="3000"/>
              </a:lnSpc>
            </a:pPr>
            <a:endParaRPr lang="zh-CN" altLang="en-US"/>
          </a:p>
        </p:txBody>
      </p:sp>
      <p:pic>
        <p:nvPicPr>
          <p:cNvPr id="36868" name="Picture 2">
            <a:extLst>
              <a:ext uri="{FF2B5EF4-FFF2-40B4-BE49-F238E27FC236}">
                <a16:creationId xmlns:a16="http://schemas.microsoft.com/office/drawing/2014/main" id="{FBF5F2C2-BC6C-4DD2-8A8E-A846666FEF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3141663"/>
            <a:ext cx="6408738" cy="3311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7">
            <a:extLst>
              <a:ext uri="{FF2B5EF4-FFF2-40B4-BE49-F238E27FC236}">
                <a16:creationId xmlns:a16="http://schemas.microsoft.com/office/drawing/2014/main" id="{D3802E3E-0FDA-48DD-9435-F50E387296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8" y="1795463"/>
            <a:ext cx="9142412" cy="2503487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shade val="46275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AFD256A3-063B-4356-B491-7AD92D29DB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10246" name="Rectangle 6">
            <a:extLst>
              <a:ext uri="{FF2B5EF4-FFF2-40B4-BE49-F238E27FC236}">
                <a16:creationId xmlns:a16="http://schemas.microsoft.com/office/drawing/2014/main" id="{72D197D2-5105-4D78-99CA-B562353BA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37894" name="WordArt 2">
            <a:extLst>
              <a:ext uri="{FF2B5EF4-FFF2-40B4-BE49-F238E27FC236}">
                <a16:creationId xmlns:a16="http://schemas.microsoft.com/office/drawing/2014/main" id="{D3CA478A-056C-4E0E-BAD1-564C821420C4}"/>
              </a:ext>
            </a:extLst>
          </p:cNvPr>
          <p:cNvSpPr>
            <a:spLocks noChangeArrowheads="1" noChangeShapeType="1" noTextEdit="1"/>
          </p:cNvSpPr>
          <p:nvPr/>
        </p:nvSpPr>
        <p:spPr bwMode="gray">
          <a:xfrm>
            <a:off x="4260850" y="2781300"/>
            <a:ext cx="4343400" cy="56038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3600" kern="1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1F497D"/>
                </a:solidFill>
                <a:effectLst>
                  <a:outerShdw dist="63500" dir="3187806" algn="ctr" rotWithShape="0">
                    <a:srgbClr val="EEECE1">
                      <a:alpha val="50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Thank You!</a:t>
            </a:r>
            <a:endParaRPr lang="zh-CN" altLang="en-US" sz="3600" kern="10">
              <a:ln w="19050">
                <a:solidFill>
                  <a:srgbClr val="FFFFFF"/>
                </a:solidFill>
                <a:round/>
                <a:headEnd/>
                <a:tailEnd/>
              </a:ln>
              <a:solidFill>
                <a:srgbClr val="1F497D"/>
              </a:solidFill>
              <a:effectLst>
                <a:outerShdw dist="63500" dir="3187806" algn="ctr" rotWithShape="0">
                  <a:srgbClr val="EEECE1">
                    <a:alpha val="50000"/>
                  </a:srgbClr>
                </a:outerShdw>
              </a:effectLst>
              <a:latin typeface="Verdana" panose="020B0604030504040204" pitchFamily="34" charset="0"/>
            </a:endParaRPr>
          </a:p>
        </p:txBody>
      </p:sp>
      <p:grpSp>
        <p:nvGrpSpPr>
          <p:cNvPr id="37895" name="组合 17">
            <a:extLst>
              <a:ext uri="{FF2B5EF4-FFF2-40B4-BE49-F238E27FC236}">
                <a16:creationId xmlns:a16="http://schemas.microsoft.com/office/drawing/2014/main" id="{A37E993D-7DB8-4371-A4B3-F882D4730E67}"/>
              </a:ext>
            </a:extLst>
          </p:cNvPr>
          <p:cNvGrpSpPr>
            <a:grpSpLocks/>
          </p:cNvGrpSpPr>
          <p:nvPr/>
        </p:nvGrpSpPr>
        <p:grpSpPr bwMode="auto">
          <a:xfrm>
            <a:off x="-322263" y="1214438"/>
            <a:ext cx="3751263" cy="3751262"/>
            <a:chOff x="-2714676" y="2357430"/>
            <a:chExt cx="3751262" cy="3751262"/>
          </a:xfrm>
        </p:grpSpPr>
        <p:grpSp>
          <p:nvGrpSpPr>
            <p:cNvPr id="37897" name="组合 8">
              <a:extLst>
                <a:ext uri="{FF2B5EF4-FFF2-40B4-BE49-F238E27FC236}">
                  <a16:creationId xmlns:a16="http://schemas.microsoft.com/office/drawing/2014/main" id="{1AAA9407-9295-4A5A-B927-42727AA20F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2714676" y="2357430"/>
              <a:ext cx="3751262" cy="3751262"/>
              <a:chOff x="244442" y="902804"/>
              <a:chExt cx="3752056" cy="3752056"/>
            </a:xfrm>
          </p:grpSpPr>
          <p:grpSp>
            <p:nvGrpSpPr>
              <p:cNvPr id="37899" name="组合 13">
                <a:extLst>
                  <a:ext uri="{FF2B5EF4-FFF2-40B4-BE49-F238E27FC236}">
                    <a16:creationId xmlns:a16="http://schemas.microsoft.com/office/drawing/2014/main" id="{4C468A91-0948-4D91-B7B5-03C39B74C8E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4442" y="902804"/>
                <a:ext cx="3752056" cy="3752056"/>
                <a:chOff x="244442" y="902804"/>
                <a:chExt cx="3752056" cy="3752056"/>
              </a:xfrm>
            </p:grpSpPr>
            <p:sp>
              <p:nvSpPr>
                <p:cNvPr id="12" name="椭圆 11">
                  <a:extLst>
                    <a:ext uri="{FF2B5EF4-FFF2-40B4-BE49-F238E27FC236}">
                      <a16:creationId xmlns:a16="http://schemas.microsoft.com/office/drawing/2014/main" id="{DE8DB2FE-46C0-4FF8-996A-AE8CE00EF4FF}"/>
                    </a:ext>
                  </a:extLst>
                </p:cNvPr>
                <p:cNvSpPr/>
                <p:nvPr/>
              </p:nvSpPr>
              <p:spPr bwMode="auto">
                <a:xfrm>
                  <a:off x="244442" y="902804"/>
                  <a:ext cx="3752056" cy="3752056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  <a:alpha val="73000"/>
                  </a:schemeClr>
                </a:solidFill>
                <a:ln w="762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glow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18900000" algn="bl" rotWithShape="0">
                    <a:schemeClr val="accent1">
                      <a:lumMod val="20000"/>
                      <a:lumOff val="80000"/>
                      <a:alpha val="40000"/>
                    </a:scheme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sz="1800" b="1">
                    <a:solidFill>
                      <a:prstClr val="black"/>
                    </a:solidFill>
                    <a:latin typeface="Arial" charset="0"/>
                    <a:ea typeface="宋体" charset="-122"/>
                  </a:endParaRPr>
                </a:p>
              </p:txBody>
            </p:sp>
            <p:pic>
              <p:nvPicPr>
                <p:cNvPr id="37904" name="图片 12">
                  <a:extLst>
                    <a:ext uri="{FF2B5EF4-FFF2-40B4-BE49-F238E27FC236}">
                      <a16:creationId xmlns:a16="http://schemas.microsoft.com/office/drawing/2014/main" id="{92AC6510-BFE0-4563-92D6-7F288AB5AA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4442" y="2117507"/>
                  <a:ext cx="1493448" cy="4984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7905" name="图片 13">
                  <a:extLst>
                    <a:ext uri="{FF2B5EF4-FFF2-40B4-BE49-F238E27FC236}">
                      <a16:creationId xmlns:a16="http://schemas.microsoft.com/office/drawing/2014/main" id="{42017455-9683-448E-A817-DD56A23477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88225" y="3138248"/>
                  <a:ext cx="692096" cy="6955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7906" name="图片 14">
                  <a:extLst>
                    <a:ext uri="{FF2B5EF4-FFF2-40B4-BE49-F238E27FC236}">
                      <a16:creationId xmlns:a16="http://schemas.microsoft.com/office/drawing/2014/main" id="{C9F416D3-634D-4FD3-BAF1-6ED8B76B54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83750" y="3080850"/>
                  <a:ext cx="1320951" cy="5977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7907" name="图片 15">
                  <a:extLst>
                    <a:ext uri="{FF2B5EF4-FFF2-40B4-BE49-F238E27FC236}">
                      <a16:creationId xmlns:a16="http://schemas.microsoft.com/office/drawing/2014/main" id="{579CDEF0-3CCB-4626-B265-93BA29BFA9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43707" y="3969912"/>
                  <a:ext cx="1205858" cy="5136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37900" name="图片 10">
                <a:extLst>
                  <a:ext uri="{FF2B5EF4-FFF2-40B4-BE49-F238E27FC236}">
                    <a16:creationId xmlns:a16="http://schemas.microsoft.com/office/drawing/2014/main" id="{2F86A2E9-061E-46BF-B52E-91219165E1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30942" y="1903148"/>
                <a:ext cx="1241921" cy="642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7898" name="图片 16" descr="LOGO1.png">
              <a:extLst>
                <a:ext uri="{FF2B5EF4-FFF2-40B4-BE49-F238E27FC236}">
                  <a16:creationId xmlns:a16="http://schemas.microsoft.com/office/drawing/2014/main" id="{5CEBC832-5E71-4112-914E-55F183551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14478" y="2571744"/>
              <a:ext cx="714380" cy="714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7896" name="Picture 20" descr="E:\LXL\T-微信平台\二维码（PPT）.png">
            <a:extLst>
              <a:ext uri="{FF2B5EF4-FFF2-40B4-BE49-F238E27FC236}">
                <a16:creationId xmlns:a16="http://schemas.microsoft.com/office/drawing/2014/main" id="{5F7BAE6F-3782-4D12-B4B7-12BBA1233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575" y="4841875"/>
            <a:ext cx="2857500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5">
            <a:extLst>
              <a:ext uri="{FF2B5EF4-FFF2-40B4-BE49-F238E27FC236}">
                <a16:creationId xmlns:a16="http://schemas.microsoft.com/office/drawing/2014/main" id="{CB4DBA68-BFE2-408F-AACE-A493F07233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6957" y="4910287"/>
            <a:ext cx="3475936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实训、课程视频等资源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/>
              </a:rPr>
              <a:t>https://edu.tipdm.org</a:t>
            </a:r>
            <a:endParaRPr kumimoji="0" lang="en-US" altLang="zh-CN" sz="1800" u="sng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BD8EDD9B-B9E8-4BF1-85B2-470F7A642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0066" y="5951537"/>
            <a:ext cx="4606541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培训动态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/>
              </a:rPr>
              <a:t>http://www.tipdm.com/pxdt/index.jhtml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 autoUpdateAnimBg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>
            <a:extLst>
              <a:ext uri="{FF2B5EF4-FFF2-40B4-BE49-F238E27FC236}">
                <a16:creationId xmlns:a16="http://schemas.microsoft.com/office/drawing/2014/main" id="{8EE13C12-0318-4E45-BB4B-B3F80B853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en-US"/>
              <a:t>聚类分析概述</a:t>
            </a:r>
          </a:p>
        </p:txBody>
      </p:sp>
      <p:sp>
        <p:nvSpPr>
          <p:cNvPr id="18435" name="内容占位符 2">
            <a:extLst>
              <a:ext uri="{FF2B5EF4-FFF2-40B4-BE49-F238E27FC236}">
                <a16:creationId xmlns:a16="http://schemas.microsoft.com/office/drawing/2014/main" id="{3F039163-849B-4382-B61F-FF149A1C6F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65175"/>
            <a:ext cx="8497888" cy="3743325"/>
          </a:xfrm>
        </p:spPr>
        <p:txBody>
          <a:bodyPr/>
          <a:lstStyle/>
          <a:p>
            <a:r>
              <a:rPr lang="zh-CN" altLang="zh-CN"/>
              <a:t>聚类分析是研究对事物进行分类的一种多元统计方法。</a:t>
            </a:r>
          </a:p>
          <a:p>
            <a:r>
              <a:rPr lang="zh-CN" altLang="zh-CN"/>
              <a:t>由于对象的复杂性，仅凭经验和专业知识有时不能达到确切分类的目的，于是数学方法就被引进到分类问题中来。</a:t>
            </a:r>
          </a:p>
          <a:p>
            <a:r>
              <a:rPr lang="zh-CN" altLang="zh-CN"/>
              <a:t>聚类分析根据事物彼此不同的属性进行辨认，将具有相似属性的事物聚为一类，使得同一类的事物具有高度的相似性。这使得聚类分析可以很好的解决无法确定事物属性的分类问题。</a:t>
            </a:r>
          </a:p>
          <a:p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标题 1">
            <a:extLst>
              <a:ext uri="{FF2B5EF4-FFF2-40B4-BE49-F238E27FC236}">
                <a16:creationId xmlns:a16="http://schemas.microsoft.com/office/drawing/2014/main" id="{E4D8451A-E93E-4465-977F-61C69B4D5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en-US" altLang="zh-CN"/>
              <a:t>K-Means</a:t>
            </a:r>
            <a:r>
              <a:rPr lang="zh-CN" altLang="zh-CN"/>
              <a:t>聚类分析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DC8F491-F6EB-4662-BD8D-5F18E28DE8D1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idx="1"/>
          </p:nvPr>
        </p:nvSpPr>
        <p:spPr>
          <a:xfrm>
            <a:off x="251521" y="775245"/>
            <a:ext cx="8496944" cy="5246043"/>
          </a:xfrm>
          <a:blipFill rotWithShape="1">
            <a:blip r:embed="rId2"/>
            <a:stretch>
              <a:fillRect l="-574" r="-72"/>
            </a:stretch>
          </a:blipFill>
        </p:spPr>
        <p:txBody>
          <a:bodyPr/>
          <a:lstStyle/>
          <a:p>
            <a:r>
              <a:rPr lang="zh-CN" altLang="en-US">
                <a:noFill/>
              </a:rPr>
              <a:t> </a:t>
            </a:r>
          </a:p>
        </p:txBody>
      </p:sp>
      <p:graphicFrame>
        <p:nvGraphicFramePr>
          <p:cNvPr id="19460" name="对象 3">
            <a:extLst>
              <a:ext uri="{FF2B5EF4-FFF2-40B4-BE49-F238E27FC236}">
                <a16:creationId xmlns:a16="http://schemas.microsoft.com/office/drawing/2014/main" id="{6525BF8E-BE41-4152-B7F2-32708E964CF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95513" y="5300663"/>
          <a:ext cx="2376487" cy="822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358640" imgH="469800" progId="Equation.DSMT4">
                  <p:embed/>
                </p:oleObj>
              </mc:Choice>
              <mc:Fallback>
                <p:oleObj name="Equation" r:id="rId3" imgW="1358640" imgH="469800" progId="Equation.DSMT4">
                  <p:embed/>
                  <p:pic>
                    <p:nvPicPr>
                      <p:cNvPr id="0" name="对象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95513" y="5300663"/>
                        <a:ext cx="2376487" cy="822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标题 1">
            <a:extLst>
              <a:ext uri="{FF2B5EF4-FFF2-40B4-BE49-F238E27FC236}">
                <a16:creationId xmlns:a16="http://schemas.microsoft.com/office/drawing/2014/main" id="{63C38B60-EBF8-4E72-942A-4749BD513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60350"/>
            <a:ext cx="8318500" cy="431800"/>
          </a:xfrm>
        </p:spPr>
        <p:txBody>
          <a:bodyPr/>
          <a:lstStyle/>
          <a:p>
            <a:r>
              <a:rPr lang="zh-CN" altLang="en-US"/>
              <a:t>迭代算法步骤</a:t>
            </a:r>
          </a:p>
        </p:txBody>
      </p:sp>
      <p:graphicFrame>
        <p:nvGraphicFramePr>
          <p:cNvPr id="7" name="内容占位符 6">
            <a:extLst>
              <a:ext uri="{FF2B5EF4-FFF2-40B4-BE49-F238E27FC236}">
                <a16:creationId xmlns:a16="http://schemas.microsoft.com/office/drawing/2014/main" id="{A8731E9D-B611-49CD-969C-3D75ADF44A0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39304" y="990724"/>
          <a:ext cx="8137152" cy="5246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标题 1">
            <a:extLst>
              <a:ext uri="{FF2B5EF4-FFF2-40B4-BE49-F238E27FC236}">
                <a16:creationId xmlns:a16="http://schemas.microsoft.com/office/drawing/2014/main" id="{63A30C18-1C54-41E6-9872-3C5B7641B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en-US" altLang="zh-CN"/>
              <a:t>Python</a:t>
            </a:r>
            <a:r>
              <a:rPr lang="zh-CN" altLang="en-US"/>
              <a:t>实现</a:t>
            </a:r>
          </a:p>
        </p:txBody>
      </p:sp>
      <p:sp>
        <p:nvSpPr>
          <p:cNvPr id="21507" name="内容占位符 2">
            <a:extLst>
              <a:ext uri="{FF2B5EF4-FFF2-40B4-BE49-F238E27FC236}">
                <a16:creationId xmlns:a16="http://schemas.microsoft.com/office/drawing/2014/main" id="{92B3DA02-61F3-4589-9418-8E50EB59B1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20713"/>
            <a:ext cx="8569325" cy="1079500"/>
          </a:xfrm>
        </p:spPr>
        <p:txBody>
          <a:bodyPr/>
          <a:lstStyle/>
          <a:p>
            <a:r>
              <a:rPr lang="zh-CN" altLang="zh-CN"/>
              <a:t>这里选择</a:t>
            </a:r>
            <a:r>
              <a:rPr lang="en-US" altLang="zh-CN"/>
              <a:t>scikit-learn</a:t>
            </a:r>
            <a:r>
              <a:rPr lang="zh-CN" altLang="zh-CN"/>
              <a:t>中的</a:t>
            </a:r>
            <a:r>
              <a:rPr lang="en-US" altLang="zh-CN"/>
              <a:t>K-Means</a:t>
            </a:r>
            <a:r>
              <a:rPr lang="zh-CN" altLang="zh-CN"/>
              <a:t>算法进行聚类实验。看看程序代码和</a:t>
            </a:r>
            <a:r>
              <a:rPr lang="en-US" altLang="zh-CN"/>
              <a:t>K-Means</a:t>
            </a:r>
            <a:r>
              <a:rPr lang="zh-CN" altLang="zh-CN"/>
              <a:t>算法的效果：</a:t>
            </a:r>
          </a:p>
          <a:p>
            <a:endParaRPr lang="zh-CN" altLang="en-US"/>
          </a:p>
        </p:txBody>
      </p:sp>
      <p:sp>
        <p:nvSpPr>
          <p:cNvPr id="21508" name="TextBox 3">
            <a:extLst>
              <a:ext uri="{FF2B5EF4-FFF2-40B4-BE49-F238E27FC236}">
                <a16:creationId xmlns:a16="http://schemas.microsoft.com/office/drawing/2014/main" id="{C1F8BD23-870B-4F19-86A8-75B7D48E63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013" y="1592263"/>
            <a:ext cx="7920037" cy="550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# </a:t>
            </a:r>
            <a:r>
              <a:rPr lang="zh-CN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聚类数量不正确时的效果</a:t>
            </a: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y_pred = KMeans(n_clusters=2, random_state=random_state).fit_predict(X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subplot(221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[y_pred==0][:, 0], X[y_pred==0][:, 1], marker='x',color='b'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[y_pred==1][:, 0], X[y_pred==1][:, 1], marker='+',color='r'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title("Incorrect Number of Blobs"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# </a:t>
            </a:r>
            <a:r>
              <a:rPr lang="zh-CN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类间的方差存在差异的效果</a:t>
            </a: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_varied, y_varied = make_blobs(n_samples=n_samples,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cluster_std=[1.0, 2.5, 0.5],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random_state=random_state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y_pred = KMeans(n_clusters=3, random_state=random_state).fit_predict(X_varied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subplot(223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_varied[y_pred==0][:, 0], X_varied[y_pred==0][:, 1], marker='x',color='b'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_varied[y_pred==1][:, 0], X_varied[y_pred==1][:, 1], marker='+',color='r'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scatter(X_varied[y_pred==2][:, 0], X_varied[y_pred==2][:, 1], marker='1',color='m'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plt.title("Unequal Variance")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 </a:t>
            </a:r>
            <a:endParaRPr lang="zh-CN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标题 1">
            <a:extLst>
              <a:ext uri="{FF2B5EF4-FFF2-40B4-BE49-F238E27FC236}">
                <a16:creationId xmlns:a16="http://schemas.microsoft.com/office/drawing/2014/main" id="{A05B8D4F-0744-4476-8CD1-EC516AE66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en-US" altLang="zh-CN"/>
              <a:t>Python</a:t>
            </a:r>
            <a:r>
              <a:rPr lang="zh-CN" altLang="en-US"/>
              <a:t>实现结果</a:t>
            </a:r>
          </a:p>
        </p:txBody>
      </p:sp>
      <p:sp>
        <p:nvSpPr>
          <p:cNvPr id="22531" name="内容占位符 2">
            <a:extLst>
              <a:ext uri="{FF2B5EF4-FFF2-40B4-BE49-F238E27FC236}">
                <a16:creationId xmlns:a16="http://schemas.microsoft.com/office/drawing/2014/main" id="{445E94FF-9ABE-4AE4-8A68-7F6C2A4FCE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20713"/>
            <a:ext cx="8353425" cy="925512"/>
          </a:xfrm>
        </p:spPr>
        <p:txBody>
          <a:bodyPr/>
          <a:lstStyle/>
          <a:p>
            <a:r>
              <a:rPr lang="zh-CN" altLang="zh-CN"/>
              <a:t>我们实验采取的数据集是</a:t>
            </a:r>
            <a:r>
              <a:rPr lang="en-US" altLang="zh-CN"/>
              <a:t>scikit-learn</a:t>
            </a:r>
            <a:r>
              <a:rPr lang="zh-CN" altLang="zh-CN"/>
              <a:t>中的</a:t>
            </a:r>
            <a:r>
              <a:rPr lang="en-US" altLang="zh-CN"/>
              <a:t>make_blods</a:t>
            </a:r>
            <a:r>
              <a:rPr lang="zh-CN" altLang="zh-CN"/>
              <a:t>。使用</a:t>
            </a:r>
            <a:r>
              <a:rPr lang="en-US" altLang="zh-CN"/>
              <a:t>scikit-learn</a:t>
            </a:r>
            <a:r>
              <a:rPr lang="zh-CN" altLang="zh-CN"/>
              <a:t>中</a:t>
            </a:r>
            <a:r>
              <a:rPr lang="en-US" altLang="zh-CN"/>
              <a:t>K-Means</a:t>
            </a:r>
            <a:r>
              <a:rPr lang="zh-CN" altLang="zh-CN"/>
              <a:t>算法的程序语句很简单</a:t>
            </a:r>
            <a:r>
              <a:rPr lang="zh-CN" altLang="en-US"/>
              <a:t>，实现结果如下图：</a:t>
            </a:r>
          </a:p>
        </p:txBody>
      </p:sp>
      <p:pic>
        <p:nvPicPr>
          <p:cNvPr id="22532" name="图片 57">
            <a:extLst>
              <a:ext uri="{FF2B5EF4-FFF2-40B4-BE49-F238E27FC236}">
                <a16:creationId xmlns:a16="http://schemas.microsoft.com/office/drawing/2014/main" id="{8E34329B-F3F9-450C-A6BB-A0E02F024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700213"/>
            <a:ext cx="7559675" cy="4554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4ABF3D5F-5F0E-4FE3-B8E3-53ABE3D47041}"/>
              </a:ext>
            </a:extLst>
          </p:cNvPr>
          <p:cNvCxnSpPr/>
          <p:nvPr/>
        </p:nvCxnSpPr>
        <p:spPr>
          <a:xfrm>
            <a:off x="2143125" y="1268413"/>
            <a:ext cx="0" cy="3889375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68C0CFAB-3BE7-42E7-915B-2BEDAD2F12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982788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C60A542-F30F-4882-AA0B-56E9D4875F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700213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F1BC8E9-1F92-447B-804D-112293F59B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70021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K-Means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聚类分析</a:t>
            </a: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01A04EF-E019-4C72-8E7B-5B03303B42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780730"/>
            <a:ext cx="4602163" cy="576262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系统聚类分析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8B87D34-384C-42A9-A88B-0940B02B7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7375" y="2780730"/>
            <a:ext cx="623888" cy="576262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23564" name="标题 13">
            <a:extLst>
              <a:ext uri="{FF2B5EF4-FFF2-40B4-BE49-F238E27FC236}">
                <a16:creationId xmlns:a16="http://schemas.microsoft.com/office/drawing/2014/main" id="{6BD74182-BBCC-4C56-BEC9-78B886E85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0A5E9DA-E5D2-45CB-A4F2-BA881618C1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8608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DBSCAN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聚类分析</a:t>
            </a: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13EDB9B-DA6C-46B7-A975-67928D5A2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38608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标题 1">
            <a:extLst>
              <a:ext uri="{FF2B5EF4-FFF2-40B4-BE49-F238E27FC236}">
                <a16:creationId xmlns:a16="http://schemas.microsoft.com/office/drawing/2014/main" id="{F67BE8E6-75A6-4D30-8799-119343705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zh-CN"/>
              <a:t>系统聚类</a:t>
            </a:r>
            <a:r>
              <a:rPr lang="zh-CN" altLang="en-US"/>
              <a:t>概述</a:t>
            </a:r>
          </a:p>
        </p:txBody>
      </p:sp>
      <p:sp>
        <p:nvSpPr>
          <p:cNvPr id="24579" name="内容占位符 2">
            <a:extLst>
              <a:ext uri="{FF2B5EF4-FFF2-40B4-BE49-F238E27FC236}">
                <a16:creationId xmlns:a16="http://schemas.microsoft.com/office/drawing/2014/main" id="{B51BCA7B-9D19-4BF0-9BCB-51BD3B9478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65175"/>
            <a:ext cx="8642350" cy="2581275"/>
          </a:xfrm>
        </p:spPr>
        <p:txBody>
          <a:bodyPr/>
          <a:lstStyle/>
          <a:p>
            <a:r>
              <a:rPr lang="zh-CN" altLang="zh-CN"/>
              <a:t>系统聚类（又称为层次聚类，系谱聚类）是一个一般的聚类算法，通过合并或分割类，生成嵌套的集群。算法的层次结构可以以一棵树表示。树的根是一个唯一的类，包含了所有的样本，而树的叶子节点是单独的一个样本。通过树的叶子节点的相互合并，最终合并成为树的根节点。</a:t>
            </a:r>
          </a:p>
          <a:p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fKjzLywEyy2ei8KkFr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主题">
  <a:themeElements>
    <a:clrScheme name="2_Office 主题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Office 主题">
      <a:majorFont>
        <a:latin typeface="Calibri"/>
        <a:ea typeface="黑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flat" cmpd="sng">
          <a:solidFill>
            <a:srgbClr val="FF0000"/>
          </a:solidFill>
          <a:prstDash val="sysDash"/>
          <a:round/>
          <a:headEnd/>
          <a:tailEnd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anchor="ctr"/>
      <a:lstStyle>
        <a:defPPr>
          <a:defRPr/>
        </a:defPPr>
      </a:lstStyle>
    </a:spDef>
  </a:objectDefaults>
  <a:extraClrSchemeLst>
    <a:extraClrScheme>
      <a:clrScheme name="2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聚合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330</TotalTime>
  <Words>1603</Words>
  <Application>Microsoft Office PowerPoint</Application>
  <PresentationFormat>全屏显示(4:3)</PresentationFormat>
  <Paragraphs>122</Paragraphs>
  <Slides>22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33" baseType="lpstr">
      <vt:lpstr>黑体</vt:lpstr>
      <vt:lpstr>华文楷体</vt:lpstr>
      <vt:lpstr>微软雅黑</vt:lpstr>
      <vt:lpstr>Arial</vt:lpstr>
      <vt:lpstr>Calibri</vt:lpstr>
      <vt:lpstr>Verdana</vt:lpstr>
      <vt:lpstr>Wingdings</vt:lpstr>
      <vt:lpstr>Office 主题</vt:lpstr>
      <vt:lpstr>2_Office 主题</vt:lpstr>
      <vt:lpstr>Equation</vt:lpstr>
      <vt:lpstr>think-cell Slide</vt:lpstr>
      <vt:lpstr>PowerPoint 演示文稿</vt:lpstr>
      <vt:lpstr>目录</vt:lpstr>
      <vt:lpstr>聚类分析概述</vt:lpstr>
      <vt:lpstr>K-Means聚类分析</vt:lpstr>
      <vt:lpstr>迭代算法步骤</vt:lpstr>
      <vt:lpstr>Python实现</vt:lpstr>
      <vt:lpstr>Python实现结果</vt:lpstr>
      <vt:lpstr>目录</vt:lpstr>
      <vt:lpstr>系统聚类概述</vt:lpstr>
      <vt:lpstr>系统聚类原理</vt:lpstr>
      <vt:lpstr>系统聚类</vt:lpstr>
      <vt:lpstr>系统聚类</vt:lpstr>
      <vt:lpstr>系统聚类</vt:lpstr>
      <vt:lpstr>系统聚类步骤</vt:lpstr>
      <vt:lpstr>系统聚类</vt:lpstr>
      <vt:lpstr>系统聚类</vt:lpstr>
      <vt:lpstr>目录</vt:lpstr>
      <vt:lpstr>DBSCAN聚类</vt:lpstr>
      <vt:lpstr>DBSCAN聚类步骤</vt:lpstr>
      <vt:lpstr>DBSCAN聚类</vt:lpstr>
      <vt:lpstr>DBSCAN聚类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tiptech</dc:creator>
  <cp:lastModifiedBy>liu xiaoling</cp:lastModifiedBy>
  <cp:revision>6852</cp:revision>
  <cp:lastPrinted>1601-01-01T00:00:00Z</cp:lastPrinted>
  <dcterms:created xsi:type="dcterms:W3CDTF">2009-09-22T14:48:25Z</dcterms:created>
  <dcterms:modified xsi:type="dcterms:W3CDTF">2021-04-30T09:4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4</vt:i4>
  </property>
  <property fmtid="{D5CDD505-2E9C-101B-9397-08002B2CF9AE}" pid="3" name="NXTAG2">
    <vt:lpwstr>000800a840000000000001024120</vt:lpwstr>
  </property>
</Properties>
</file>